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84" r:id="rId6"/>
    <p:sldMasterId id="2147483697" r:id="rId7"/>
  </p:sldMasterIdLst>
  <p:notesMasterIdLst>
    <p:notesMasterId r:id="rId9"/>
  </p:notesMasterIdLst>
  <p:sldIdLst>
    <p:sldId id="2145708187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A02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A78CD8-EEC1-44CC-8FBF-009EB359846E}" v="21" dt="2023-07-11T06:27:26.5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31" autoAdjust="0"/>
    <p:restoredTop sz="96831" autoAdjust="0"/>
  </p:normalViewPr>
  <p:slideViewPr>
    <p:cSldViewPr snapToGrid="0">
      <p:cViewPr varScale="1">
        <p:scale>
          <a:sx n="124" d="100"/>
          <a:sy n="124" d="100"/>
        </p:scale>
        <p:origin x="354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mara Fehirov" userId="56fae2ac-921e-4334-bcca-d4ec9bd31689" providerId="ADAL" clId="{5AA78CD8-EEC1-44CC-8FBF-009EB359846E}"/>
    <pc:docChg chg="undo custSel addSld delSld modSld sldOrd">
      <pc:chgData name="Tamara Fehirov" userId="56fae2ac-921e-4334-bcca-d4ec9bd31689" providerId="ADAL" clId="{5AA78CD8-EEC1-44CC-8FBF-009EB359846E}" dt="2023-07-26T11:10:33.827" v="3875" actId="2696"/>
      <pc:docMkLst>
        <pc:docMk/>
      </pc:docMkLst>
      <pc:sldChg chg="addSp delSp modSp mod">
        <pc:chgData name="Tamara Fehirov" userId="56fae2ac-921e-4334-bcca-d4ec9bd31689" providerId="ADAL" clId="{5AA78CD8-EEC1-44CC-8FBF-009EB359846E}" dt="2023-07-10T10:04:00.722" v="543" actId="732"/>
        <pc:sldMkLst>
          <pc:docMk/>
          <pc:sldMk cId="1073799779" sldId="256"/>
        </pc:sldMkLst>
        <pc:spChg chg="mod">
          <ac:chgData name="Tamara Fehirov" userId="56fae2ac-921e-4334-bcca-d4ec9bd31689" providerId="ADAL" clId="{5AA78CD8-EEC1-44CC-8FBF-009EB359846E}" dt="2023-07-03T11:46:50.595" v="19" actId="6549"/>
          <ac:spMkLst>
            <pc:docMk/>
            <pc:sldMk cId="1073799779" sldId="256"/>
            <ac:spMk id="9" creationId="{71DA8151-1E79-441F-8BAC-DA8A6339C7EA}"/>
          </ac:spMkLst>
        </pc:spChg>
        <pc:picChg chg="del">
          <ac:chgData name="Tamara Fehirov" userId="56fae2ac-921e-4334-bcca-d4ec9bd31689" providerId="ADAL" clId="{5AA78CD8-EEC1-44CC-8FBF-009EB359846E}" dt="2023-07-03T11:46:51.861" v="20" actId="478"/>
          <ac:picMkLst>
            <pc:docMk/>
            <pc:sldMk cId="1073799779" sldId="256"/>
            <ac:picMk id="3" creationId="{80E2BDCC-23EE-9585-805D-ACEAC1BB4BB4}"/>
          </ac:picMkLst>
        </pc:picChg>
        <pc:picChg chg="add mod modCrop">
          <ac:chgData name="Tamara Fehirov" userId="56fae2ac-921e-4334-bcca-d4ec9bd31689" providerId="ADAL" clId="{5AA78CD8-EEC1-44CC-8FBF-009EB359846E}" dt="2023-07-10T10:04:00.722" v="543" actId="732"/>
          <ac:picMkLst>
            <pc:docMk/>
            <pc:sldMk cId="1073799779" sldId="256"/>
            <ac:picMk id="3" creationId="{A8E729A7-DA9B-A63E-D369-16F738D0D568}"/>
          </ac:picMkLst>
        </pc:picChg>
        <pc:picChg chg="del">
          <ac:chgData name="Tamara Fehirov" userId="56fae2ac-921e-4334-bcca-d4ec9bd31689" providerId="ADAL" clId="{5AA78CD8-EEC1-44CC-8FBF-009EB359846E}" dt="2023-07-03T12:02:29.668" v="132" actId="478"/>
          <ac:picMkLst>
            <pc:docMk/>
            <pc:sldMk cId="1073799779" sldId="256"/>
            <ac:picMk id="5" creationId="{257C81A4-1D25-EA01-1F4E-13904A46B348}"/>
          </ac:picMkLst>
        </pc:picChg>
        <pc:picChg chg="add mod">
          <ac:chgData name="Tamara Fehirov" userId="56fae2ac-921e-4334-bcca-d4ec9bd31689" providerId="ADAL" clId="{5AA78CD8-EEC1-44CC-8FBF-009EB359846E}" dt="2023-07-10T09:59:37.308" v="542" actId="1076"/>
          <ac:picMkLst>
            <pc:docMk/>
            <pc:sldMk cId="1073799779" sldId="256"/>
            <ac:picMk id="5" creationId="{6B816DAE-86B8-3D41-4D5F-16F9EEC4F281}"/>
          </ac:picMkLst>
        </pc:picChg>
        <pc:picChg chg="del">
          <ac:chgData name="Tamara Fehirov" userId="56fae2ac-921e-4334-bcca-d4ec9bd31689" providerId="ADAL" clId="{5AA78CD8-EEC1-44CC-8FBF-009EB359846E}" dt="2023-07-03T12:02:30.364" v="133" actId="478"/>
          <ac:picMkLst>
            <pc:docMk/>
            <pc:sldMk cId="1073799779" sldId="256"/>
            <ac:picMk id="8" creationId="{44F2F5BA-F37C-2CD2-A4F2-691C485C1B62}"/>
          </ac:picMkLst>
        </pc:picChg>
      </pc:sldChg>
      <pc:sldChg chg="del">
        <pc:chgData name="Tamara Fehirov" userId="56fae2ac-921e-4334-bcca-d4ec9bd31689" providerId="ADAL" clId="{5AA78CD8-EEC1-44CC-8FBF-009EB359846E}" dt="2023-07-03T11:47:46.091" v="122" actId="47"/>
        <pc:sldMkLst>
          <pc:docMk/>
          <pc:sldMk cId="2251268087" sldId="317"/>
        </pc:sldMkLst>
      </pc:sldChg>
      <pc:sldChg chg="del">
        <pc:chgData name="Tamara Fehirov" userId="56fae2ac-921e-4334-bcca-d4ec9bd31689" providerId="ADAL" clId="{5AA78CD8-EEC1-44CC-8FBF-009EB359846E}" dt="2023-07-10T05:50:04.971" v="216"/>
        <pc:sldMkLst>
          <pc:docMk/>
          <pc:sldMk cId="206865427" sldId="2145708187"/>
        </pc:sldMkLst>
      </pc:sldChg>
      <pc:sldChg chg="delSp modSp del mod">
        <pc:chgData name="Tamara Fehirov" userId="56fae2ac-921e-4334-bcca-d4ec9bd31689" providerId="ADAL" clId="{5AA78CD8-EEC1-44CC-8FBF-009EB359846E}" dt="2023-07-11T06:30:16.227" v="3579" actId="14734"/>
        <pc:sldMkLst>
          <pc:docMk/>
          <pc:sldMk cId="2316037945" sldId="2145708188"/>
        </pc:sldMkLst>
        <pc:spChg chg="del">
          <ac:chgData name="Tamara Fehirov" userId="56fae2ac-921e-4334-bcca-d4ec9bd31689" providerId="ADAL" clId="{5AA78CD8-EEC1-44CC-8FBF-009EB359846E}" dt="2023-07-03T07:58:49.128" v="7" actId="478"/>
          <ac:spMkLst>
            <pc:docMk/>
            <pc:sldMk cId="2316037945" sldId="2145708188"/>
            <ac:spMk id="27" creationId="{5CCF4F06-C393-8608-1819-9DF4C2A458C4}"/>
          </ac:spMkLst>
        </pc:spChg>
        <pc:spChg chg="del">
          <ac:chgData name="Tamara Fehirov" userId="56fae2ac-921e-4334-bcca-d4ec9bd31689" providerId="ADAL" clId="{5AA78CD8-EEC1-44CC-8FBF-009EB359846E}" dt="2023-07-03T07:59:09.419" v="12" actId="478"/>
          <ac:spMkLst>
            <pc:docMk/>
            <pc:sldMk cId="2316037945" sldId="2145708188"/>
            <ac:spMk id="31" creationId="{0E5E2DD6-F65E-90CA-F449-FFC431B741AC}"/>
          </ac:spMkLst>
        </pc:spChg>
        <pc:spChg chg="mod">
          <ac:chgData name="Tamara Fehirov" userId="56fae2ac-921e-4334-bcca-d4ec9bd31689" providerId="ADAL" clId="{5AA78CD8-EEC1-44CC-8FBF-009EB359846E}" dt="2023-07-03T11:49:14.521" v="131" actId="14100"/>
          <ac:spMkLst>
            <pc:docMk/>
            <pc:sldMk cId="2316037945" sldId="2145708188"/>
            <ac:spMk id="87" creationId="{21E3395A-96E2-D5F6-F884-B31555B32256}"/>
          </ac:spMkLst>
        </pc:spChg>
        <pc:spChg chg="mod">
          <ac:chgData name="Tamara Fehirov" userId="56fae2ac-921e-4334-bcca-d4ec9bd31689" providerId="ADAL" clId="{5AA78CD8-EEC1-44CC-8FBF-009EB359846E}" dt="2023-07-03T07:58:56.548" v="9" actId="14100"/>
          <ac:spMkLst>
            <pc:docMk/>
            <pc:sldMk cId="2316037945" sldId="2145708188"/>
            <ac:spMk id="100" creationId="{43F10CC5-98BA-D109-5B25-D6FB513928BF}"/>
          </ac:spMkLst>
        </pc:spChg>
        <pc:graphicFrameChg chg="modGraphic">
          <ac:chgData name="Tamara Fehirov" userId="56fae2ac-921e-4334-bcca-d4ec9bd31689" providerId="ADAL" clId="{5AA78CD8-EEC1-44CC-8FBF-009EB359846E}" dt="2023-07-10T05:50:02.683" v="215" actId="14734"/>
          <ac:graphicFrameMkLst>
            <pc:docMk/>
            <pc:sldMk cId="2316037945" sldId="2145708188"/>
            <ac:graphicFrameMk id="34" creationId="{A0D10EE8-C357-48C6-B946-E0FA99B0DF8D}"/>
          </ac:graphicFrameMkLst>
        </pc:graphicFrameChg>
        <pc:graphicFrameChg chg="modGraphic">
          <ac:chgData name="Tamara Fehirov" userId="56fae2ac-921e-4334-bcca-d4ec9bd31689" providerId="ADAL" clId="{5AA78CD8-EEC1-44CC-8FBF-009EB359846E}" dt="2023-07-11T06:30:16.227" v="3579" actId="14734"/>
          <ac:graphicFrameMkLst>
            <pc:docMk/>
            <pc:sldMk cId="2316037945" sldId="2145708188"/>
            <ac:graphicFrameMk id="82" creationId="{AD8AF60A-E8B2-6B28-10F8-499C4C525BFA}"/>
          </ac:graphicFrameMkLst>
        </pc:graphicFrameChg>
        <pc:picChg chg="del">
          <ac:chgData name="Tamara Fehirov" userId="56fae2ac-921e-4334-bcca-d4ec9bd31689" providerId="ADAL" clId="{5AA78CD8-EEC1-44CC-8FBF-009EB359846E}" dt="2023-07-10T05:52:01.424" v="218" actId="478"/>
          <ac:picMkLst>
            <pc:docMk/>
            <pc:sldMk cId="2316037945" sldId="2145708188"/>
            <ac:picMk id="11" creationId="{4FD52866-E694-A715-CBEE-954B5DE77EBA}"/>
          </ac:picMkLst>
        </pc:picChg>
        <pc:picChg chg="del">
          <ac:chgData name="Tamara Fehirov" userId="56fae2ac-921e-4334-bcca-d4ec9bd31689" providerId="ADAL" clId="{5AA78CD8-EEC1-44CC-8FBF-009EB359846E}" dt="2023-07-03T11:48:52.287" v="125" actId="478"/>
          <ac:picMkLst>
            <pc:docMk/>
            <pc:sldMk cId="2316037945" sldId="2145708188"/>
            <ac:picMk id="36" creationId="{F89D4EF6-9062-0D71-4394-C77FA85CA710}"/>
          </ac:picMkLst>
        </pc:picChg>
        <pc:picChg chg="del">
          <ac:chgData name="Tamara Fehirov" userId="56fae2ac-921e-4334-bcca-d4ec9bd31689" providerId="ADAL" clId="{5AA78CD8-EEC1-44CC-8FBF-009EB359846E}" dt="2023-07-03T07:58:50.858" v="8" actId="478"/>
          <ac:picMkLst>
            <pc:docMk/>
            <pc:sldMk cId="2316037945" sldId="2145708188"/>
            <ac:picMk id="37" creationId="{00FAFC08-A0C1-4B6F-47AD-F8ED7D52B1D8}"/>
          </ac:picMkLst>
        </pc:picChg>
        <pc:cxnChg chg="del mod">
          <ac:chgData name="Tamara Fehirov" userId="56fae2ac-921e-4334-bcca-d4ec9bd31689" providerId="ADAL" clId="{5AA78CD8-EEC1-44CC-8FBF-009EB359846E}" dt="2023-07-10T05:53:31.804" v="230" actId="1076"/>
          <ac:cxnSpMkLst>
            <pc:docMk/>
            <pc:sldMk cId="2316037945" sldId="2145708188"/>
            <ac:cxnSpMk id="30" creationId="{8D9CF448-C32A-7453-40D9-A021E1C05DF1}"/>
          </ac:cxnSpMkLst>
        </pc:cxnChg>
        <pc:cxnChg chg="del">
          <ac:chgData name="Tamara Fehirov" userId="56fae2ac-921e-4334-bcca-d4ec9bd31689" providerId="ADAL" clId="{5AA78CD8-EEC1-44CC-8FBF-009EB359846E}" dt="2023-07-03T11:48:49.351" v="124" actId="478"/>
          <ac:cxnSpMkLst>
            <pc:docMk/>
            <pc:sldMk cId="2316037945" sldId="2145708188"/>
            <ac:cxnSpMk id="84" creationId="{3AF6E57A-0A21-3D21-C875-11C760CB34AA}"/>
          </ac:cxnSpMkLst>
        </pc:cxnChg>
        <pc:cxnChg chg="mod">
          <ac:chgData name="Tamara Fehirov" userId="56fae2ac-921e-4334-bcca-d4ec9bd31689" providerId="ADAL" clId="{5AA78CD8-EEC1-44CC-8FBF-009EB359846E}" dt="2023-07-03T12:17:01.004" v="182" actId="1076"/>
          <ac:cxnSpMkLst>
            <pc:docMk/>
            <pc:sldMk cId="2316037945" sldId="2145708188"/>
            <ac:cxnSpMk id="88" creationId="{F05D71F2-047F-45B1-D0E3-FD764C15ECCF}"/>
          </ac:cxnSpMkLst>
        </pc:cxnChg>
        <pc:cxnChg chg="mod">
          <ac:chgData name="Tamara Fehirov" userId="56fae2ac-921e-4334-bcca-d4ec9bd31689" providerId="ADAL" clId="{5AA78CD8-EEC1-44CC-8FBF-009EB359846E}" dt="2023-07-03T11:49:10.607" v="130" actId="1076"/>
          <ac:cxnSpMkLst>
            <pc:docMk/>
            <pc:sldMk cId="2316037945" sldId="2145708188"/>
            <ac:cxnSpMk id="89" creationId="{438D4F33-30F0-1C8E-456D-D4369CBDBD3D}"/>
          </ac:cxnSpMkLst>
        </pc:cxnChg>
        <pc:cxnChg chg="del mod">
          <ac:chgData name="Tamara Fehirov" userId="56fae2ac-921e-4334-bcca-d4ec9bd31689" providerId="ADAL" clId="{5AA78CD8-EEC1-44CC-8FBF-009EB359846E}" dt="2023-07-03T07:59:19.225" v="15" actId="478"/>
          <ac:cxnSpMkLst>
            <pc:docMk/>
            <pc:sldMk cId="2316037945" sldId="2145708188"/>
            <ac:cxnSpMk id="98" creationId="{8436E02F-DAB8-DF29-8760-2FCB09DDE867}"/>
          </ac:cxnSpMkLst>
        </pc:cxnChg>
        <pc:cxnChg chg="mod">
          <ac:chgData name="Tamara Fehirov" userId="56fae2ac-921e-4334-bcca-d4ec9bd31689" providerId="ADAL" clId="{5AA78CD8-EEC1-44CC-8FBF-009EB359846E}" dt="2023-07-03T12:16:46.919" v="179" actId="14100"/>
          <ac:cxnSpMkLst>
            <pc:docMk/>
            <pc:sldMk cId="2316037945" sldId="2145708188"/>
            <ac:cxnSpMk id="99" creationId="{EB545E82-DD1F-F63C-878E-A72B3051E7DC}"/>
          </ac:cxnSpMkLst>
        </pc:cxnChg>
      </pc:sldChg>
      <pc:sldChg chg="addSp delSp modSp mod">
        <pc:chgData name="Tamara Fehirov" userId="56fae2ac-921e-4334-bcca-d4ec9bd31689" providerId="ADAL" clId="{5AA78CD8-EEC1-44CC-8FBF-009EB359846E}" dt="2023-07-05T06:25:59.716" v="194" actId="14100"/>
        <pc:sldMkLst>
          <pc:docMk/>
          <pc:sldMk cId="72577951" sldId="2145708217"/>
        </pc:sldMkLst>
        <pc:spChg chg="mod">
          <ac:chgData name="Tamara Fehirov" userId="56fae2ac-921e-4334-bcca-d4ec9bd31689" providerId="ADAL" clId="{5AA78CD8-EEC1-44CC-8FBF-009EB359846E}" dt="2023-07-03T11:47:05.137" v="51" actId="5793"/>
          <ac:spMkLst>
            <pc:docMk/>
            <pc:sldMk cId="72577951" sldId="2145708217"/>
            <ac:spMk id="7" creationId="{1354E89D-B7BA-476D-BCA7-C33C00890395}"/>
          </ac:spMkLst>
        </pc:spChg>
        <pc:picChg chg="add mod">
          <ac:chgData name="Tamara Fehirov" userId="56fae2ac-921e-4334-bcca-d4ec9bd31689" providerId="ADAL" clId="{5AA78CD8-EEC1-44CC-8FBF-009EB359846E}" dt="2023-07-05T06:25:02.758" v="185" actId="1076"/>
          <ac:picMkLst>
            <pc:docMk/>
            <pc:sldMk cId="72577951" sldId="2145708217"/>
            <ac:picMk id="3" creationId="{ACFF62A2-EA07-F9FD-4BA3-8BA4AA6294D5}"/>
          </ac:picMkLst>
        </pc:picChg>
        <pc:picChg chg="del">
          <ac:chgData name="Tamara Fehirov" userId="56fae2ac-921e-4334-bcca-d4ec9bd31689" providerId="ADAL" clId="{5AA78CD8-EEC1-44CC-8FBF-009EB359846E}" dt="2023-07-03T12:02:34.475" v="134" actId="478"/>
          <ac:picMkLst>
            <pc:docMk/>
            <pc:sldMk cId="72577951" sldId="2145708217"/>
            <ac:picMk id="4" creationId="{9870F289-D934-3E95-B2DF-D0B1058B4444}"/>
          </ac:picMkLst>
        </pc:picChg>
        <pc:picChg chg="add mod">
          <ac:chgData name="Tamara Fehirov" userId="56fae2ac-921e-4334-bcca-d4ec9bd31689" providerId="ADAL" clId="{5AA78CD8-EEC1-44CC-8FBF-009EB359846E}" dt="2023-07-05T06:25:32.294" v="190" actId="14100"/>
          <ac:picMkLst>
            <pc:docMk/>
            <pc:sldMk cId="72577951" sldId="2145708217"/>
            <ac:picMk id="5" creationId="{26E06DD0-7CB5-D527-1650-D72141F986B5}"/>
          </ac:picMkLst>
        </pc:picChg>
        <pc:picChg chg="add mod">
          <ac:chgData name="Tamara Fehirov" userId="56fae2ac-921e-4334-bcca-d4ec9bd31689" providerId="ADAL" clId="{5AA78CD8-EEC1-44CC-8FBF-009EB359846E}" dt="2023-07-05T06:25:59.716" v="194" actId="14100"/>
          <ac:picMkLst>
            <pc:docMk/>
            <pc:sldMk cId="72577951" sldId="2145708217"/>
            <ac:picMk id="10" creationId="{81964D4F-0CEE-5ADA-AE8F-BDB04ECDEDFE}"/>
          </ac:picMkLst>
        </pc:picChg>
        <pc:picChg chg="del">
          <ac:chgData name="Tamara Fehirov" userId="56fae2ac-921e-4334-bcca-d4ec9bd31689" providerId="ADAL" clId="{5AA78CD8-EEC1-44CC-8FBF-009EB359846E}" dt="2023-07-03T12:02:35.467" v="135" actId="478"/>
          <ac:picMkLst>
            <pc:docMk/>
            <pc:sldMk cId="72577951" sldId="2145708217"/>
            <ac:picMk id="12" creationId="{A8038C85-9AD0-D07A-DA27-D150CB4F1D49}"/>
          </ac:picMkLst>
        </pc:picChg>
        <pc:picChg chg="del">
          <ac:chgData name="Tamara Fehirov" userId="56fae2ac-921e-4334-bcca-d4ec9bd31689" providerId="ADAL" clId="{5AA78CD8-EEC1-44CC-8FBF-009EB359846E}" dt="2023-07-03T12:02:36.092" v="136" actId="478"/>
          <ac:picMkLst>
            <pc:docMk/>
            <pc:sldMk cId="72577951" sldId="2145708217"/>
            <ac:picMk id="14" creationId="{08286E95-38F3-CEF3-0FC0-7AF6BB872371}"/>
          </ac:picMkLst>
        </pc:picChg>
      </pc:sldChg>
      <pc:sldChg chg="addSp delSp modSp mod">
        <pc:chgData name="Tamara Fehirov" userId="56fae2ac-921e-4334-bcca-d4ec9bd31689" providerId="ADAL" clId="{5AA78CD8-EEC1-44CC-8FBF-009EB359846E}" dt="2023-07-05T07:53:41.598" v="211" actId="14100"/>
        <pc:sldMkLst>
          <pc:docMk/>
          <pc:sldMk cId="140183948" sldId="2145708224"/>
        </pc:sldMkLst>
        <pc:spChg chg="mod">
          <ac:chgData name="Tamara Fehirov" userId="56fae2ac-921e-4334-bcca-d4ec9bd31689" providerId="ADAL" clId="{5AA78CD8-EEC1-44CC-8FBF-009EB359846E}" dt="2023-07-03T11:47:23.004" v="121" actId="5793"/>
          <ac:spMkLst>
            <pc:docMk/>
            <pc:sldMk cId="140183948" sldId="2145708224"/>
            <ac:spMk id="2" creationId="{F09E9030-629C-800C-7402-6677ACF6424C}"/>
          </ac:spMkLst>
        </pc:spChg>
        <pc:picChg chg="add mod">
          <ac:chgData name="Tamara Fehirov" userId="56fae2ac-921e-4334-bcca-d4ec9bd31689" providerId="ADAL" clId="{5AA78CD8-EEC1-44CC-8FBF-009EB359846E}" dt="2023-07-05T07:52:50.416" v="203" actId="14100"/>
          <ac:picMkLst>
            <pc:docMk/>
            <pc:sldMk cId="140183948" sldId="2145708224"/>
            <ac:picMk id="5" creationId="{60BC4E95-2F4B-B182-23D3-4A95A3C653F8}"/>
          </ac:picMkLst>
        </pc:picChg>
        <pc:picChg chg="del">
          <ac:chgData name="Tamara Fehirov" userId="56fae2ac-921e-4334-bcca-d4ec9bd31689" providerId="ADAL" clId="{5AA78CD8-EEC1-44CC-8FBF-009EB359846E}" dt="2023-07-03T12:02:39.724" v="137" actId="478"/>
          <ac:picMkLst>
            <pc:docMk/>
            <pc:sldMk cId="140183948" sldId="2145708224"/>
            <ac:picMk id="7" creationId="{AB3C3223-68FF-4C02-FEBC-F4DC238B7378}"/>
          </ac:picMkLst>
        </pc:picChg>
        <pc:picChg chg="add mod">
          <ac:chgData name="Tamara Fehirov" userId="56fae2ac-921e-4334-bcca-d4ec9bd31689" providerId="ADAL" clId="{5AA78CD8-EEC1-44CC-8FBF-009EB359846E}" dt="2023-07-05T07:53:41.598" v="211" actId="14100"/>
          <ac:picMkLst>
            <pc:docMk/>
            <pc:sldMk cId="140183948" sldId="2145708224"/>
            <ac:picMk id="8" creationId="{FF4BC416-D223-2E37-82AB-AF19633B80B9}"/>
          </ac:picMkLst>
        </pc:picChg>
        <pc:picChg chg="add mod">
          <ac:chgData name="Tamara Fehirov" userId="56fae2ac-921e-4334-bcca-d4ec9bd31689" providerId="ADAL" clId="{5AA78CD8-EEC1-44CC-8FBF-009EB359846E}" dt="2023-07-05T07:53:26.042" v="210" actId="14100"/>
          <ac:picMkLst>
            <pc:docMk/>
            <pc:sldMk cId="140183948" sldId="2145708224"/>
            <ac:picMk id="10" creationId="{0090247A-B887-F3D0-6F82-9D12F83FC455}"/>
          </ac:picMkLst>
        </pc:picChg>
        <pc:picChg chg="del">
          <ac:chgData name="Tamara Fehirov" userId="56fae2ac-921e-4334-bcca-d4ec9bd31689" providerId="ADAL" clId="{5AA78CD8-EEC1-44CC-8FBF-009EB359846E}" dt="2023-07-03T12:02:40.708" v="138" actId="478"/>
          <ac:picMkLst>
            <pc:docMk/>
            <pc:sldMk cId="140183948" sldId="2145708224"/>
            <ac:picMk id="12" creationId="{14D6B571-7267-7452-0D36-0A59524EDB71}"/>
          </ac:picMkLst>
        </pc:picChg>
        <pc:picChg chg="del">
          <ac:chgData name="Tamara Fehirov" userId="56fae2ac-921e-4334-bcca-d4ec9bd31689" providerId="ADAL" clId="{5AA78CD8-EEC1-44CC-8FBF-009EB359846E}" dt="2023-07-03T12:02:41.579" v="139" actId="478"/>
          <ac:picMkLst>
            <pc:docMk/>
            <pc:sldMk cId="140183948" sldId="2145708224"/>
            <ac:picMk id="14" creationId="{7DF48D81-352D-3945-4359-91EFAA2F4DEE}"/>
          </ac:picMkLst>
        </pc:picChg>
      </pc:sldChg>
      <pc:sldChg chg="del">
        <pc:chgData name="Tamara Fehirov" userId="56fae2ac-921e-4334-bcca-d4ec9bd31689" providerId="ADAL" clId="{5AA78CD8-EEC1-44CC-8FBF-009EB359846E}" dt="2023-07-03T07:57:23.039" v="1" actId="47"/>
        <pc:sldMkLst>
          <pc:docMk/>
          <pc:sldMk cId="692232519" sldId="2145708225"/>
        </pc:sldMkLst>
      </pc:sldChg>
      <pc:sldChg chg="modSp new del mod">
        <pc:chgData name="Tamara Fehirov" userId="56fae2ac-921e-4334-bcca-d4ec9bd31689" providerId="ADAL" clId="{5AA78CD8-EEC1-44CC-8FBF-009EB359846E}" dt="2023-07-10T08:32:13.157" v="231" actId="47"/>
        <pc:sldMkLst>
          <pc:docMk/>
          <pc:sldMk cId="2441944599" sldId="2145708225"/>
        </pc:sldMkLst>
        <pc:spChg chg="mod">
          <ac:chgData name="Tamara Fehirov" userId="56fae2ac-921e-4334-bcca-d4ec9bd31689" providerId="ADAL" clId="{5AA78CD8-EEC1-44CC-8FBF-009EB359846E}" dt="2023-07-03T12:05:00.627" v="151" actId="20577"/>
          <ac:spMkLst>
            <pc:docMk/>
            <pc:sldMk cId="2441944599" sldId="2145708225"/>
            <ac:spMk id="2" creationId="{7DD40264-5BCC-8D26-0A76-EB9286055C62}"/>
          </ac:spMkLst>
        </pc:spChg>
      </pc:sldChg>
      <pc:sldChg chg="del">
        <pc:chgData name="Tamara Fehirov" userId="56fae2ac-921e-4334-bcca-d4ec9bd31689" providerId="ADAL" clId="{5AA78CD8-EEC1-44CC-8FBF-009EB359846E}" dt="2023-07-03T12:05:06.119" v="152"/>
        <pc:sldMkLst>
          <pc:docMk/>
          <pc:sldMk cId="292554452" sldId="2145708226"/>
        </pc:sldMkLst>
      </pc:sldChg>
      <pc:sldChg chg="addSp delSp modSp new del mod">
        <pc:chgData name="Tamara Fehirov" userId="56fae2ac-921e-4334-bcca-d4ec9bd31689" providerId="ADAL" clId="{5AA78CD8-EEC1-44CC-8FBF-009EB359846E}" dt="2023-07-10T09:54:07.207" v="532" actId="47"/>
        <pc:sldMkLst>
          <pc:docMk/>
          <pc:sldMk cId="976206373" sldId="2145708226"/>
        </pc:sldMkLst>
        <pc:spChg chg="mod">
          <ac:chgData name="Tamara Fehirov" userId="56fae2ac-921e-4334-bcca-d4ec9bd31689" providerId="ADAL" clId="{5AA78CD8-EEC1-44CC-8FBF-009EB359846E}" dt="2023-07-10T08:51:11.761" v="241" actId="20577"/>
          <ac:spMkLst>
            <pc:docMk/>
            <pc:sldMk cId="976206373" sldId="2145708226"/>
            <ac:spMk id="2" creationId="{FD0997BF-BA96-EE80-D30A-31315356A8F4}"/>
          </ac:spMkLst>
        </pc:spChg>
        <pc:spChg chg="del">
          <ac:chgData name="Tamara Fehirov" userId="56fae2ac-921e-4334-bcca-d4ec9bd31689" providerId="ADAL" clId="{5AA78CD8-EEC1-44CC-8FBF-009EB359846E}" dt="2023-07-10T08:51:20.219" v="242"/>
          <ac:spMkLst>
            <pc:docMk/>
            <pc:sldMk cId="976206373" sldId="2145708226"/>
            <ac:spMk id="4" creationId="{E746E36C-8AA0-15A3-4D7A-0A8534F88E63}"/>
          </ac:spMkLst>
        </pc:spChg>
        <pc:spChg chg="del mod">
          <ac:chgData name="Tamara Fehirov" userId="56fae2ac-921e-4334-bcca-d4ec9bd31689" providerId="ADAL" clId="{5AA78CD8-EEC1-44CC-8FBF-009EB359846E}" dt="2023-07-10T08:59:32.501" v="297" actId="478"/>
          <ac:spMkLst>
            <pc:docMk/>
            <pc:sldMk cId="976206373" sldId="2145708226"/>
            <ac:spMk id="5" creationId="{F0970840-0089-ADC7-B716-1177488A2C1B}"/>
          </ac:spMkLst>
        </pc:spChg>
        <pc:spChg chg="add mod">
          <ac:chgData name="Tamara Fehirov" userId="56fae2ac-921e-4334-bcca-d4ec9bd31689" providerId="ADAL" clId="{5AA78CD8-EEC1-44CC-8FBF-009EB359846E}" dt="2023-07-10T08:57:52.706" v="286" actId="1076"/>
          <ac:spMkLst>
            <pc:docMk/>
            <pc:sldMk cId="976206373" sldId="2145708226"/>
            <ac:spMk id="12" creationId="{3C3DEDDE-C694-87C3-BD21-498CC8152D17}"/>
          </ac:spMkLst>
        </pc:spChg>
        <pc:spChg chg="add del mod">
          <ac:chgData name="Tamara Fehirov" userId="56fae2ac-921e-4334-bcca-d4ec9bd31689" providerId="ADAL" clId="{5AA78CD8-EEC1-44CC-8FBF-009EB359846E}" dt="2023-07-10T08:58:11.742" v="291" actId="478"/>
          <ac:spMkLst>
            <pc:docMk/>
            <pc:sldMk cId="976206373" sldId="2145708226"/>
            <ac:spMk id="14" creationId="{42B4C0C3-5FD6-83A4-D367-2DB27E737430}"/>
          </ac:spMkLst>
        </pc:spChg>
        <pc:spChg chg="add mod">
          <ac:chgData name="Tamara Fehirov" userId="56fae2ac-921e-4334-bcca-d4ec9bd31689" providerId="ADAL" clId="{5AA78CD8-EEC1-44CC-8FBF-009EB359846E}" dt="2023-07-10T09:09:43.006" v="350" actId="1076"/>
          <ac:spMkLst>
            <pc:docMk/>
            <pc:sldMk cId="976206373" sldId="2145708226"/>
            <ac:spMk id="16" creationId="{8BD8577A-3D7B-7AA1-B9BA-C2CC33F60F5E}"/>
          </ac:spMkLst>
        </pc:spChg>
        <pc:picChg chg="add del mod">
          <ac:chgData name="Tamara Fehirov" userId="56fae2ac-921e-4334-bcca-d4ec9bd31689" providerId="ADAL" clId="{5AA78CD8-EEC1-44CC-8FBF-009EB359846E}" dt="2023-07-10T09:09:26.417" v="346" actId="478"/>
          <ac:picMkLst>
            <pc:docMk/>
            <pc:sldMk cId="976206373" sldId="2145708226"/>
            <ac:picMk id="5" creationId="{4E32BBE1-C845-D55C-5387-B57493DB06F6}"/>
          </ac:picMkLst>
        </pc:picChg>
        <pc:picChg chg="add mod">
          <ac:chgData name="Tamara Fehirov" userId="56fae2ac-921e-4334-bcca-d4ec9bd31689" providerId="ADAL" clId="{5AA78CD8-EEC1-44CC-8FBF-009EB359846E}" dt="2023-07-10T09:02:02.402" v="317" actId="14100"/>
          <ac:picMkLst>
            <pc:docMk/>
            <pc:sldMk cId="976206373" sldId="2145708226"/>
            <ac:picMk id="6" creationId="{BD786107-EA4E-B4EA-28D4-C44732BEC27C}"/>
          </ac:picMkLst>
        </pc:picChg>
        <pc:picChg chg="add mod modCrop">
          <ac:chgData name="Tamara Fehirov" userId="56fae2ac-921e-4334-bcca-d4ec9bd31689" providerId="ADAL" clId="{5AA78CD8-EEC1-44CC-8FBF-009EB359846E}" dt="2023-07-10T08:53:23.930" v="257" actId="732"/>
          <ac:picMkLst>
            <pc:docMk/>
            <pc:sldMk cId="976206373" sldId="2145708226"/>
            <ac:picMk id="8" creationId="{7E0CEDEB-EB3E-C72E-8DE4-9253D92E47B3}"/>
          </ac:picMkLst>
        </pc:picChg>
        <pc:picChg chg="add del mod">
          <ac:chgData name="Tamara Fehirov" userId="56fae2ac-921e-4334-bcca-d4ec9bd31689" providerId="ADAL" clId="{5AA78CD8-EEC1-44CC-8FBF-009EB359846E}" dt="2023-07-10T09:09:25.367" v="345" actId="478"/>
          <ac:picMkLst>
            <pc:docMk/>
            <pc:sldMk cId="976206373" sldId="2145708226"/>
            <ac:picMk id="9" creationId="{8F49B5E2-ED52-D6C2-E4D1-5FC8CA48F27B}"/>
          </ac:picMkLst>
        </pc:picChg>
        <pc:picChg chg="add mod">
          <ac:chgData name="Tamara Fehirov" userId="56fae2ac-921e-4334-bcca-d4ec9bd31689" providerId="ADAL" clId="{5AA78CD8-EEC1-44CC-8FBF-009EB359846E}" dt="2023-07-10T09:09:38.859" v="349" actId="14100"/>
          <ac:picMkLst>
            <pc:docMk/>
            <pc:sldMk cId="976206373" sldId="2145708226"/>
            <ac:picMk id="10" creationId="{8ADFC0E8-BEC1-2DB2-8FE1-D21E33C7E89B}"/>
          </ac:picMkLst>
        </pc:picChg>
      </pc:sldChg>
      <pc:sldChg chg="del">
        <pc:chgData name="Tamara Fehirov" userId="56fae2ac-921e-4334-bcca-d4ec9bd31689" providerId="ADAL" clId="{5AA78CD8-EEC1-44CC-8FBF-009EB359846E}" dt="2023-07-03T07:57:21.758" v="0" actId="47"/>
        <pc:sldMkLst>
          <pc:docMk/>
          <pc:sldMk cId="2605833302" sldId="2145708226"/>
        </pc:sldMkLst>
      </pc:sldChg>
      <pc:sldChg chg="addSp delSp modSp add mod ord">
        <pc:chgData name="Tamara Fehirov" userId="56fae2ac-921e-4334-bcca-d4ec9bd31689" providerId="ADAL" clId="{5AA78CD8-EEC1-44CC-8FBF-009EB359846E}" dt="2023-07-11T05:43:11.474" v="1546" actId="14100"/>
        <pc:sldMkLst>
          <pc:docMk/>
          <pc:sldMk cId="1243630035" sldId="2145708227"/>
        </pc:sldMkLst>
        <pc:spChg chg="mod">
          <ac:chgData name="Tamara Fehirov" userId="56fae2ac-921e-4334-bcca-d4ec9bd31689" providerId="ADAL" clId="{5AA78CD8-EEC1-44CC-8FBF-009EB359846E}" dt="2023-07-10T11:06:34.333" v="861" actId="20577"/>
          <ac:spMkLst>
            <pc:docMk/>
            <pc:sldMk cId="1243630035" sldId="2145708227"/>
            <ac:spMk id="2" creationId="{FD0997BF-BA96-EE80-D30A-31315356A8F4}"/>
          </ac:spMkLst>
        </pc:spChg>
        <pc:spChg chg="add del mod">
          <ac:chgData name="Tamara Fehirov" userId="56fae2ac-921e-4334-bcca-d4ec9bd31689" providerId="ADAL" clId="{5AA78CD8-EEC1-44CC-8FBF-009EB359846E}" dt="2023-07-11T05:42:53.514" v="1538" actId="478"/>
          <ac:spMkLst>
            <pc:docMk/>
            <pc:sldMk cId="1243630035" sldId="2145708227"/>
            <ac:spMk id="4" creationId="{CB4DB1AF-B4B0-21F9-040A-99C31DC9EC05}"/>
          </ac:spMkLst>
        </pc:spChg>
        <pc:spChg chg="add del mod">
          <ac:chgData name="Tamara Fehirov" userId="56fae2ac-921e-4334-bcca-d4ec9bd31689" providerId="ADAL" clId="{5AA78CD8-EEC1-44CC-8FBF-009EB359846E}" dt="2023-07-11T05:42:59.042" v="1542" actId="478"/>
          <ac:spMkLst>
            <pc:docMk/>
            <pc:sldMk cId="1243630035" sldId="2145708227"/>
            <ac:spMk id="5" creationId="{562099A2-3D36-ED8D-F716-D1D95D997532}"/>
          </ac:spMkLst>
        </pc:spChg>
        <pc:spChg chg="del mod">
          <ac:chgData name="Tamara Fehirov" userId="56fae2ac-921e-4334-bcca-d4ec9bd31689" providerId="ADAL" clId="{5AA78CD8-EEC1-44CC-8FBF-009EB359846E}" dt="2023-07-10T08:59:35.446" v="298" actId="478"/>
          <ac:spMkLst>
            <pc:docMk/>
            <pc:sldMk cId="1243630035" sldId="2145708227"/>
            <ac:spMk id="5" creationId="{F0970840-0089-ADC7-B716-1177488A2C1B}"/>
          </ac:spMkLst>
        </pc:spChg>
        <pc:spChg chg="add del mod">
          <ac:chgData name="Tamara Fehirov" userId="56fae2ac-921e-4334-bcca-d4ec9bd31689" providerId="ADAL" clId="{5AA78CD8-EEC1-44CC-8FBF-009EB359846E}" dt="2023-07-10T09:53:46.726" v="528" actId="478"/>
          <ac:spMkLst>
            <pc:docMk/>
            <pc:sldMk cId="1243630035" sldId="2145708227"/>
            <ac:spMk id="11" creationId="{91DD1A3A-1450-CBB2-CE06-B4C13E9C23ED}"/>
          </ac:spMkLst>
        </pc:spChg>
        <pc:spChg chg="add del mod">
          <ac:chgData name="Tamara Fehirov" userId="56fae2ac-921e-4334-bcca-d4ec9bd31689" providerId="ADAL" clId="{5AA78CD8-EEC1-44CC-8FBF-009EB359846E}" dt="2023-07-10T09:53:48.689" v="530" actId="478"/>
          <ac:spMkLst>
            <pc:docMk/>
            <pc:sldMk cId="1243630035" sldId="2145708227"/>
            <ac:spMk id="15" creationId="{2327E081-E894-4E1E-99B2-E426081989F6}"/>
          </ac:spMkLst>
        </pc:spChg>
        <pc:picChg chg="mod">
          <ac:chgData name="Tamara Fehirov" userId="56fae2ac-921e-4334-bcca-d4ec9bd31689" providerId="ADAL" clId="{5AA78CD8-EEC1-44CC-8FBF-009EB359846E}" dt="2023-07-10T12:12:50.421" v="1286" actId="1076"/>
          <ac:picMkLst>
            <pc:docMk/>
            <pc:sldMk cId="1243630035" sldId="2145708227"/>
            <ac:picMk id="6" creationId="{BD786107-EA4E-B4EA-28D4-C44732BEC27C}"/>
          </ac:picMkLst>
        </pc:picChg>
        <pc:picChg chg="add del mod">
          <ac:chgData name="Tamara Fehirov" userId="56fae2ac-921e-4334-bcca-d4ec9bd31689" providerId="ADAL" clId="{5AA78CD8-EEC1-44CC-8FBF-009EB359846E}" dt="2023-07-10T09:53:42.424" v="525" actId="478"/>
          <ac:picMkLst>
            <pc:docMk/>
            <pc:sldMk cId="1243630035" sldId="2145708227"/>
            <ac:picMk id="7" creationId="{C9B7A119-A3FC-8750-F7B3-4B03957C22F8}"/>
          </ac:picMkLst>
        </pc:picChg>
        <pc:picChg chg="del">
          <ac:chgData name="Tamara Fehirov" userId="56fae2ac-921e-4334-bcca-d4ec9bd31689" providerId="ADAL" clId="{5AA78CD8-EEC1-44CC-8FBF-009EB359846E}" dt="2023-07-10T08:53:53.755" v="260" actId="478"/>
          <ac:picMkLst>
            <pc:docMk/>
            <pc:sldMk cId="1243630035" sldId="2145708227"/>
            <ac:picMk id="8" creationId="{7E0CEDEB-EB3E-C72E-8DE4-9253D92E47B3}"/>
          </ac:picMkLst>
        </pc:picChg>
        <pc:picChg chg="add mod modCrop">
          <ac:chgData name="Tamara Fehirov" userId="56fae2ac-921e-4334-bcca-d4ec9bd31689" providerId="ADAL" clId="{5AA78CD8-EEC1-44CC-8FBF-009EB359846E}" dt="2023-07-11T05:43:11.474" v="1546" actId="14100"/>
          <ac:picMkLst>
            <pc:docMk/>
            <pc:sldMk cId="1243630035" sldId="2145708227"/>
            <ac:picMk id="8" creationId="{9AFCB298-F838-4A2F-A0E9-6A96273165CD}"/>
          </ac:picMkLst>
        </pc:picChg>
        <pc:picChg chg="del">
          <ac:chgData name="Tamara Fehirov" userId="56fae2ac-921e-4334-bcca-d4ec9bd31689" providerId="ADAL" clId="{5AA78CD8-EEC1-44CC-8FBF-009EB359846E}" dt="2023-07-10T08:53:54.374" v="261" actId="478"/>
          <ac:picMkLst>
            <pc:docMk/>
            <pc:sldMk cId="1243630035" sldId="2145708227"/>
            <ac:picMk id="10" creationId="{8ADFC0E8-BEC1-2DB2-8FE1-D21E33C7E89B}"/>
          </ac:picMkLst>
        </pc:picChg>
        <pc:picChg chg="add del mod">
          <ac:chgData name="Tamara Fehirov" userId="56fae2ac-921e-4334-bcca-d4ec9bd31689" providerId="ADAL" clId="{5AA78CD8-EEC1-44CC-8FBF-009EB359846E}" dt="2023-07-10T09:53:42.930" v="526" actId="478"/>
          <ac:picMkLst>
            <pc:docMk/>
            <pc:sldMk cId="1243630035" sldId="2145708227"/>
            <ac:picMk id="13" creationId="{7D4CA8EB-D37D-D275-2C9B-3F3BC467CF46}"/>
          </ac:picMkLst>
        </pc:picChg>
      </pc:sldChg>
      <pc:sldChg chg="new del">
        <pc:chgData name="Tamara Fehirov" userId="56fae2ac-921e-4334-bcca-d4ec9bd31689" providerId="ADAL" clId="{5AA78CD8-EEC1-44CC-8FBF-009EB359846E}" dt="2023-07-10T12:13:06.163" v="1289" actId="47"/>
        <pc:sldMkLst>
          <pc:docMk/>
          <pc:sldMk cId="3091400377" sldId="2145708228"/>
        </pc:sldMkLst>
      </pc:sldChg>
      <pc:sldChg chg="addSp delSp modSp add del mod">
        <pc:chgData name="Tamara Fehirov" userId="56fae2ac-921e-4334-bcca-d4ec9bd31689" providerId="ADAL" clId="{5AA78CD8-EEC1-44CC-8FBF-009EB359846E}" dt="2023-07-10T09:54:08.374" v="533" actId="47"/>
        <pc:sldMkLst>
          <pc:docMk/>
          <pc:sldMk cId="3337033129" sldId="2145708228"/>
        </pc:sldMkLst>
        <pc:spChg chg="add del mod">
          <ac:chgData name="Tamara Fehirov" userId="56fae2ac-921e-4334-bcca-d4ec9bd31689" providerId="ADAL" clId="{5AA78CD8-EEC1-44CC-8FBF-009EB359846E}" dt="2023-07-10T09:15:21.689" v="401" actId="478"/>
          <ac:spMkLst>
            <pc:docMk/>
            <pc:sldMk cId="3337033129" sldId="2145708228"/>
            <ac:spMk id="8" creationId="{9E493FC4-FB0A-2607-A4F9-8ADAB7559256}"/>
          </ac:spMkLst>
        </pc:spChg>
        <pc:spChg chg="add mod">
          <ac:chgData name="Tamara Fehirov" userId="56fae2ac-921e-4334-bcca-d4ec9bd31689" providerId="ADAL" clId="{5AA78CD8-EEC1-44CC-8FBF-009EB359846E}" dt="2023-07-10T09:10:12.551" v="353" actId="14100"/>
          <ac:spMkLst>
            <pc:docMk/>
            <pc:sldMk cId="3337033129" sldId="2145708228"/>
            <ac:spMk id="9" creationId="{FB290689-417C-0F96-9080-4A080217C1C9}"/>
          </ac:spMkLst>
        </pc:spChg>
        <pc:spChg chg="del mod">
          <ac:chgData name="Tamara Fehirov" userId="56fae2ac-921e-4334-bcca-d4ec9bd31689" providerId="ADAL" clId="{5AA78CD8-EEC1-44CC-8FBF-009EB359846E}" dt="2023-07-10T09:00:14.781" v="307" actId="478"/>
          <ac:spMkLst>
            <pc:docMk/>
            <pc:sldMk cId="3337033129" sldId="2145708228"/>
            <ac:spMk id="11" creationId="{91DD1A3A-1450-CBB2-CE06-B4C13E9C23ED}"/>
          </ac:spMkLst>
        </pc:spChg>
        <pc:spChg chg="add del mod">
          <ac:chgData name="Tamara Fehirov" userId="56fae2ac-921e-4334-bcca-d4ec9bd31689" providerId="ADAL" clId="{5AA78CD8-EEC1-44CC-8FBF-009EB359846E}" dt="2023-07-10T09:41:31.338" v="519" actId="478"/>
          <ac:spMkLst>
            <pc:docMk/>
            <pc:sldMk cId="3337033129" sldId="2145708228"/>
            <ac:spMk id="14" creationId="{72C2E888-14FD-71CA-BEE5-A48704E3A2AE}"/>
          </ac:spMkLst>
        </pc:spChg>
        <pc:spChg chg="del">
          <ac:chgData name="Tamara Fehirov" userId="56fae2ac-921e-4334-bcca-d4ec9bd31689" providerId="ADAL" clId="{5AA78CD8-EEC1-44CC-8FBF-009EB359846E}" dt="2023-07-10T09:00:12.878" v="305" actId="478"/>
          <ac:spMkLst>
            <pc:docMk/>
            <pc:sldMk cId="3337033129" sldId="2145708228"/>
            <ac:spMk id="15" creationId="{2327E081-E894-4E1E-99B2-E426081989F6}"/>
          </ac:spMkLst>
        </pc:spChg>
        <pc:picChg chg="add mod modCrop">
          <ac:chgData name="Tamara Fehirov" userId="56fae2ac-921e-4334-bcca-d4ec9bd31689" providerId="ADAL" clId="{5AA78CD8-EEC1-44CC-8FBF-009EB359846E}" dt="2023-07-10T09:01:49.153" v="316" actId="732"/>
          <ac:picMkLst>
            <pc:docMk/>
            <pc:sldMk cId="3337033129" sldId="2145708228"/>
            <ac:picMk id="5" creationId="{A20EB902-DE7D-F7FC-9D5F-3CC74EFB7555}"/>
          </ac:picMkLst>
        </pc:picChg>
        <pc:picChg chg="mod">
          <ac:chgData name="Tamara Fehirov" userId="56fae2ac-921e-4334-bcca-d4ec9bd31689" providerId="ADAL" clId="{5AA78CD8-EEC1-44CC-8FBF-009EB359846E}" dt="2023-07-10T09:02:10.488" v="319" actId="14100"/>
          <ac:picMkLst>
            <pc:docMk/>
            <pc:sldMk cId="3337033129" sldId="2145708228"/>
            <ac:picMk id="6" creationId="{BD786107-EA4E-B4EA-28D4-C44732BEC27C}"/>
          </ac:picMkLst>
        </pc:picChg>
        <pc:picChg chg="add del mod">
          <ac:chgData name="Tamara Fehirov" userId="56fae2ac-921e-4334-bcca-d4ec9bd31689" providerId="ADAL" clId="{5AA78CD8-EEC1-44CC-8FBF-009EB359846E}" dt="2023-07-10T09:15:18.731" v="399" actId="478"/>
          <ac:picMkLst>
            <pc:docMk/>
            <pc:sldMk cId="3337033129" sldId="2145708228"/>
            <ac:picMk id="7" creationId="{C82F8005-917B-D0C6-50B9-5D90BB734417}"/>
          </ac:picMkLst>
        </pc:picChg>
        <pc:picChg chg="del">
          <ac:chgData name="Tamara Fehirov" userId="56fae2ac-921e-4334-bcca-d4ec9bd31689" providerId="ADAL" clId="{5AA78CD8-EEC1-44CC-8FBF-009EB359846E}" dt="2023-07-10T09:00:10.769" v="302" actId="478"/>
          <ac:picMkLst>
            <pc:docMk/>
            <pc:sldMk cId="3337033129" sldId="2145708228"/>
            <ac:picMk id="7" creationId="{C9B7A119-A3FC-8750-F7B3-4B03957C22F8}"/>
          </ac:picMkLst>
        </pc:picChg>
        <pc:picChg chg="add del mod">
          <ac:chgData name="Tamara Fehirov" userId="56fae2ac-921e-4334-bcca-d4ec9bd31689" providerId="ADAL" clId="{5AA78CD8-EEC1-44CC-8FBF-009EB359846E}" dt="2023-07-10T09:15:18.095" v="398" actId="478"/>
          <ac:picMkLst>
            <pc:docMk/>
            <pc:sldMk cId="3337033129" sldId="2145708228"/>
            <ac:picMk id="11" creationId="{38373013-0EE0-F919-8450-B8FB1B715DAF}"/>
          </ac:picMkLst>
        </pc:picChg>
        <pc:picChg chg="add del">
          <ac:chgData name="Tamara Fehirov" userId="56fae2ac-921e-4334-bcca-d4ec9bd31689" providerId="ADAL" clId="{5AA78CD8-EEC1-44CC-8FBF-009EB359846E}" dt="2023-07-10T09:11:26.606" v="369" actId="478"/>
          <ac:picMkLst>
            <pc:docMk/>
            <pc:sldMk cId="3337033129" sldId="2145708228"/>
            <ac:picMk id="13" creationId="{0CD294AA-2BAE-CC11-9CF7-729F20DA8120}"/>
          </ac:picMkLst>
        </pc:picChg>
        <pc:picChg chg="del">
          <ac:chgData name="Tamara Fehirov" userId="56fae2ac-921e-4334-bcca-d4ec9bd31689" providerId="ADAL" clId="{5AA78CD8-EEC1-44CC-8FBF-009EB359846E}" dt="2023-07-10T09:00:11.934" v="304" actId="478"/>
          <ac:picMkLst>
            <pc:docMk/>
            <pc:sldMk cId="3337033129" sldId="2145708228"/>
            <ac:picMk id="13" creationId="{7D4CA8EB-D37D-D275-2C9B-3F3BC467CF46}"/>
          </ac:picMkLst>
        </pc:picChg>
        <pc:picChg chg="add del mod modCrop">
          <ac:chgData name="Tamara Fehirov" userId="56fae2ac-921e-4334-bcca-d4ec9bd31689" providerId="ADAL" clId="{5AA78CD8-EEC1-44CC-8FBF-009EB359846E}" dt="2023-07-10T09:41:30.623" v="518" actId="478"/>
          <ac:picMkLst>
            <pc:docMk/>
            <pc:sldMk cId="3337033129" sldId="2145708228"/>
            <ac:picMk id="16" creationId="{8EA37785-BC72-3788-DC7D-47A7B2CD5DF5}"/>
          </ac:picMkLst>
        </pc:picChg>
        <pc:picChg chg="add del mod">
          <ac:chgData name="Tamara Fehirov" userId="56fae2ac-921e-4334-bcca-d4ec9bd31689" providerId="ADAL" clId="{5AA78CD8-EEC1-44CC-8FBF-009EB359846E}" dt="2023-07-10T09:41:29.298" v="516" actId="478"/>
          <ac:picMkLst>
            <pc:docMk/>
            <pc:sldMk cId="3337033129" sldId="2145708228"/>
            <ac:picMk id="18" creationId="{7ABFE5EE-DF99-FDBB-251A-D79D51960A9A}"/>
          </ac:picMkLst>
        </pc:picChg>
        <pc:picChg chg="add del mod">
          <ac:chgData name="Tamara Fehirov" userId="56fae2ac-921e-4334-bcca-d4ec9bd31689" providerId="ADAL" clId="{5AA78CD8-EEC1-44CC-8FBF-009EB359846E}" dt="2023-07-10T09:41:29.984" v="517" actId="478"/>
          <ac:picMkLst>
            <pc:docMk/>
            <pc:sldMk cId="3337033129" sldId="2145708228"/>
            <ac:picMk id="20" creationId="{EEDD1653-0004-4710-8DD8-8AE72609D1C9}"/>
          </ac:picMkLst>
        </pc:picChg>
      </pc:sldChg>
      <pc:sldChg chg="delSp modSp add del mod">
        <pc:chgData name="Tamara Fehirov" userId="56fae2ac-921e-4334-bcca-d4ec9bd31689" providerId="ADAL" clId="{5AA78CD8-EEC1-44CC-8FBF-009EB359846E}" dt="2023-07-11T06:29:51.271" v="3578" actId="2696"/>
        <pc:sldMkLst>
          <pc:docMk/>
          <pc:sldMk cId="3676203281" sldId="2145708228"/>
        </pc:sldMkLst>
        <pc:spChg chg="mod">
          <ac:chgData name="Tamara Fehirov" userId="56fae2ac-921e-4334-bcca-d4ec9bd31689" providerId="ADAL" clId="{5AA78CD8-EEC1-44CC-8FBF-009EB359846E}" dt="2023-07-11T05:57:35.873" v="2092" actId="15"/>
          <ac:spMkLst>
            <pc:docMk/>
            <pc:sldMk cId="3676203281" sldId="2145708228"/>
            <ac:spMk id="4" creationId="{CB4DB1AF-B4B0-21F9-040A-99C31DC9EC05}"/>
          </ac:spMkLst>
        </pc:spChg>
        <pc:spChg chg="mod">
          <ac:chgData name="Tamara Fehirov" userId="56fae2ac-921e-4334-bcca-d4ec9bd31689" providerId="ADAL" clId="{5AA78CD8-EEC1-44CC-8FBF-009EB359846E}" dt="2023-07-11T05:39:36.091" v="1387" actId="1076"/>
          <ac:spMkLst>
            <pc:docMk/>
            <pc:sldMk cId="3676203281" sldId="2145708228"/>
            <ac:spMk id="5" creationId="{562099A2-3D36-ED8D-F716-D1D95D997532}"/>
          </ac:spMkLst>
        </pc:spChg>
        <pc:picChg chg="del">
          <ac:chgData name="Tamara Fehirov" userId="56fae2ac-921e-4334-bcca-d4ec9bd31689" providerId="ADAL" clId="{5AA78CD8-EEC1-44CC-8FBF-009EB359846E}" dt="2023-07-11T05:39:19.533" v="1383" actId="478"/>
          <ac:picMkLst>
            <pc:docMk/>
            <pc:sldMk cId="3676203281" sldId="2145708228"/>
            <ac:picMk id="8" creationId="{9AFCB298-F838-4A2F-A0E9-6A96273165CD}"/>
          </ac:picMkLst>
        </pc:picChg>
      </pc:sldChg>
      <pc:sldChg chg="addSp delSp modSp add del mod ord">
        <pc:chgData name="Tamara Fehirov" userId="56fae2ac-921e-4334-bcca-d4ec9bd31689" providerId="ADAL" clId="{5AA78CD8-EEC1-44CC-8FBF-009EB359846E}" dt="2023-07-10T09:53:35.052" v="522" actId="47"/>
        <pc:sldMkLst>
          <pc:docMk/>
          <pc:sldMk cId="1409423087" sldId="2145708229"/>
        </pc:sldMkLst>
        <pc:spChg chg="del mod">
          <ac:chgData name="Tamara Fehirov" userId="56fae2ac-921e-4334-bcca-d4ec9bd31689" providerId="ADAL" clId="{5AA78CD8-EEC1-44CC-8FBF-009EB359846E}" dt="2023-07-10T09:17:03.180" v="421" actId="478"/>
          <ac:spMkLst>
            <pc:docMk/>
            <pc:sldMk cId="1409423087" sldId="2145708229"/>
            <ac:spMk id="2" creationId="{9C88D777-05D4-4EEE-AA9A-2E8DAEB51574}"/>
          </ac:spMkLst>
        </pc:spChg>
        <pc:spChg chg="add del">
          <ac:chgData name="Tamara Fehirov" userId="56fae2ac-921e-4334-bcca-d4ec9bd31689" providerId="ADAL" clId="{5AA78CD8-EEC1-44CC-8FBF-009EB359846E}" dt="2023-07-10T09:18:16.152" v="440" actId="22"/>
          <ac:spMkLst>
            <pc:docMk/>
            <pc:sldMk cId="1409423087" sldId="2145708229"/>
            <ac:spMk id="16" creationId="{C840DE78-E31B-242E-F118-814BEEE13E5E}"/>
          </ac:spMkLst>
        </pc:spChg>
        <pc:spChg chg="add mod">
          <ac:chgData name="Tamara Fehirov" userId="56fae2ac-921e-4334-bcca-d4ec9bd31689" providerId="ADAL" clId="{5AA78CD8-EEC1-44CC-8FBF-009EB359846E}" dt="2023-07-10T09:24:10.232" v="515" actId="20577"/>
          <ac:spMkLst>
            <pc:docMk/>
            <pc:sldMk cId="1409423087" sldId="2145708229"/>
            <ac:spMk id="18" creationId="{92977170-CE33-6CFC-8C91-08F95E94FC9D}"/>
          </ac:spMkLst>
        </pc:spChg>
        <pc:spChg chg="add mod">
          <ac:chgData name="Tamara Fehirov" userId="56fae2ac-921e-4334-bcca-d4ec9bd31689" providerId="ADAL" clId="{5AA78CD8-EEC1-44CC-8FBF-009EB359846E}" dt="2023-07-10T09:23:21.781" v="500" actId="1076"/>
          <ac:spMkLst>
            <pc:docMk/>
            <pc:sldMk cId="1409423087" sldId="2145708229"/>
            <ac:spMk id="19" creationId="{EF7CDD0F-C82B-64A3-404A-C70CFBC6E180}"/>
          </ac:spMkLst>
        </pc:spChg>
        <pc:spChg chg="add mod">
          <ac:chgData name="Tamara Fehirov" userId="56fae2ac-921e-4334-bcca-d4ec9bd31689" providerId="ADAL" clId="{5AA78CD8-EEC1-44CC-8FBF-009EB359846E}" dt="2023-07-10T09:23:25.934" v="501" actId="1076"/>
          <ac:spMkLst>
            <pc:docMk/>
            <pc:sldMk cId="1409423087" sldId="2145708229"/>
            <ac:spMk id="20" creationId="{4C9E30F1-8D42-F823-07C2-F66C00AE4EC1}"/>
          </ac:spMkLst>
        </pc:spChg>
        <pc:spChg chg="del">
          <ac:chgData name="Tamara Fehirov" userId="56fae2ac-921e-4334-bcca-d4ec9bd31689" providerId="ADAL" clId="{5AA78CD8-EEC1-44CC-8FBF-009EB359846E}" dt="2023-07-10T09:16:52.938" v="409" actId="478"/>
          <ac:spMkLst>
            <pc:docMk/>
            <pc:sldMk cId="1409423087" sldId="2145708229"/>
            <ac:spMk id="40" creationId="{911262FC-7EA5-4622-9810-49450C2E4C20}"/>
          </ac:spMkLst>
        </pc:spChg>
        <pc:spChg chg="del">
          <ac:chgData name="Tamara Fehirov" userId="56fae2ac-921e-4334-bcca-d4ec9bd31689" providerId="ADAL" clId="{5AA78CD8-EEC1-44CC-8FBF-009EB359846E}" dt="2023-07-10T09:16:50.222" v="407" actId="478"/>
          <ac:spMkLst>
            <pc:docMk/>
            <pc:sldMk cId="1409423087" sldId="2145708229"/>
            <ac:spMk id="44" creationId="{8118263B-55D0-4957-892E-8793BE3A7CA5}"/>
          </ac:spMkLst>
        </pc:spChg>
        <pc:spChg chg="del">
          <ac:chgData name="Tamara Fehirov" userId="56fae2ac-921e-4334-bcca-d4ec9bd31689" providerId="ADAL" clId="{5AA78CD8-EEC1-44CC-8FBF-009EB359846E}" dt="2023-07-10T09:17:10.011" v="432" actId="478"/>
          <ac:spMkLst>
            <pc:docMk/>
            <pc:sldMk cId="1409423087" sldId="2145708229"/>
            <ac:spMk id="47" creationId="{C8621CFE-A99D-4C84-9F9B-8E93DE0C0D60}"/>
          </ac:spMkLst>
        </pc:spChg>
        <pc:spChg chg="del mod">
          <ac:chgData name="Tamara Fehirov" userId="56fae2ac-921e-4334-bcca-d4ec9bd31689" providerId="ADAL" clId="{5AA78CD8-EEC1-44CC-8FBF-009EB359846E}" dt="2023-07-10T09:17:00.069" v="418" actId="478"/>
          <ac:spMkLst>
            <pc:docMk/>
            <pc:sldMk cId="1409423087" sldId="2145708229"/>
            <ac:spMk id="51" creationId="{1A9B8A6C-D8EA-4820-88B3-F167963E496A}"/>
          </ac:spMkLst>
        </pc:spChg>
        <pc:spChg chg="del">
          <ac:chgData name="Tamara Fehirov" userId="56fae2ac-921e-4334-bcca-d4ec9bd31689" providerId="ADAL" clId="{5AA78CD8-EEC1-44CC-8FBF-009EB359846E}" dt="2023-07-10T09:17:08.525" v="429" actId="478"/>
          <ac:spMkLst>
            <pc:docMk/>
            <pc:sldMk cId="1409423087" sldId="2145708229"/>
            <ac:spMk id="59" creationId="{DCC829C1-4EE9-44AE-8534-3492C72220D2}"/>
          </ac:spMkLst>
        </pc:spChg>
        <pc:grpChg chg="del">
          <ac:chgData name="Tamara Fehirov" userId="56fae2ac-921e-4334-bcca-d4ec9bd31689" providerId="ADAL" clId="{5AA78CD8-EEC1-44CC-8FBF-009EB359846E}" dt="2023-07-10T09:16:46.180" v="405" actId="478"/>
          <ac:grpSpMkLst>
            <pc:docMk/>
            <pc:sldMk cId="1409423087" sldId="2145708229"/>
            <ac:grpSpMk id="12" creationId="{1E25C2E1-EA3E-1286-A2D4-210EAEC39CB1}"/>
          </ac:grpSpMkLst>
        </pc:grpChg>
        <pc:grpChg chg="del">
          <ac:chgData name="Tamara Fehirov" userId="56fae2ac-921e-4334-bcca-d4ec9bd31689" providerId="ADAL" clId="{5AA78CD8-EEC1-44CC-8FBF-009EB359846E}" dt="2023-07-10T09:16:56.812" v="414" actId="478"/>
          <ac:grpSpMkLst>
            <pc:docMk/>
            <pc:sldMk cId="1409423087" sldId="2145708229"/>
            <ac:grpSpMk id="29" creationId="{3A8D33EC-052F-41E4-AE60-330AEE0C013A}"/>
          </ac:grpSpMkLst>
        </pc:grpChg>
        <pc:grpChg chg="del">
          <ac:chgData name="Tamara Fehirov" userId="56fae2ac-921e-4334-bcca-d4ec9bd31689" providerId="ADAL" clId="{5AA78CD8-EEC1-44CC-8FBF-009EB359846E}" dt="2023-07-10T09:16:57.339" v="415" actId="478"/>
          <ac:grpSpMkLst>
            <pc:docMk/>
            <pc:sldMk cId="1409423087" sldId="2145708229"/>
            <ac:grpSpMk id="60" creationId="{86852CB7-09D6-4EDB-9548-AF5A1487E300}"/>
          </ac:grpSpMkLst>
        </pc:grpChg>
        <pc:grpChg chg="del">
          <ac:chgData name="Tamara Fehirov" userId="56fae2ac-921e-4334-bcca-d4ec9bd31689" providerId="ADAL" clId="{5AA78CD8-EEC1-44CC-8FBF-009EB359846E}" dt="2023-07-10T09:16:54.133" v="410" actId="478"/>
          <ac:grpSpMkLst>
            <pc:docMk/>
            <pc:sldMk cId="1409423087" sldId="2145708229"/>
            <ac:grpSpMk id="64" creationId="{7E3D84BF-74A3-4B50-8D28-1FCE13D20EBA}"/>
          </ac:grpSpMkLst>
        </pc:grpChg>
        <pc:graphicFrameChg chg="del">
          <ac:chgData name="Tamara Fehirov" userId="56fae2ac-921e-4334-bcca-d4ec9bd31689" providerId="ADAL" clId="{5AA78CD8-EEC1-44CC-8FBF-009EB359846E}" dt="2023-07-10T09:16:49.201" v="406" actId="478"/>
          <ac:graphicFrameMkLst>
            <pc:docMk/>
            <pc:sldMk cId="1409423087" sldId="2145708229"/>
            <ac:graphicFrameMk id="34" creationId="{A0D10EE8-C357-48C6-B946-E0FA99B0DF8D}"/>
          </ac:graphicFrameMkLst>
        </pc:graphicFrameChg>
        <pc:picChg chg="del">
          <ac:chgData name="Tamara Fehirov" userId="56fae2ac-921e-4334-bcca-d4ec9bd31689" providerId="ADAL" clId="{5AA78CD8-EEC1-44CC-8FBF-009EB359846E}" dt="2023-07-10T09:17:09.021" v="430" actId="478"/>
          <ac:picMkLst>
            <pc:docMk/>
            <pc:sldMk cId="1409423087" sldId="2145708229"/>
            <ac:picMk id="5" creationId="{6DD9929D-A272-3FC2-534C-B1835E269C85}"/>
          </ac:picMkLst>
        </pc:picChg>
        <pc:picChg chg="del">
          <ac:chgData name="Tamara Fehirov" userId="56fae2ac-921e-4334-bcca-d4ec9bd31689" providerId="ADAL" clId="{5AA78CD8-EEC1-44CC-8FBF-009EB359846E}" dt="2023-07-10T09:17:09.487" v="431" actId="478"/>
          <ac:picMkLst>
            <pc:docMk/>
            <pc:sldMk cId="1409423087" sldId="2145708229"/>
            <ac:picMk id="6" creationId="{3A6F6335-4A1C-4D23-32D9-79EC5E2F5A4B}"/>
          </ac:picMkLst>
        </pc:picChg>
        <pc:picChg chg="del">
          <ac:chgData name="Tamara Fehirov" userId="56fae2ac-921e-4334-bcca-d4ec9bd31689" providerId="ADAL" clId="{5AA78CD8-EEC1-44CC-8FBF-009EB359846E}" dt="2023-07-10T09:17:08.118" v="428" actId="478"/>
          <ac:picMkLst>
            <pc:docMk/>
            <pc:sldMk cId="1409423087" sldId="2145708229"/>
            <ac:picMk id="7" creationId="{2005B4DF-B680-4059-AE4E-7E199E66897F}"/>
          </ac:picMkLst>
        </pc:picChg>
        <pc:picChg chg="del">
          <ac:chgData name="Tamara Fehirov" userId="56fae2ac-921e-4334-bcca-d4ec9bd31689" providerId="ADAL" clId="{5AA78CD8-EEC1-44CC-8FBF-009EB359846E}" dt="2023-07-10T09:17:06.888" v="426" actId="478"/>
          <ac:picMkLst>
            <pc:docMk/>
            <pc:sldMk cId="1409423087" sldId="2145708229"/>
            <ac:picMk id="8" creationId="{3CB4A643-D3B9-D3D3-647B-28BD147E20FC}"/>
          </ac:picMkLst>
        </pc:picChg>
        <pc:picChg chg="add mod">
          <ac:chgData name="Tamara Fehirov" userId="56fae2ac-921e-4334-bcca-d4ec9bd31689" providerId="ADAL" clId="{5AA78CD8-EEC1-44CC-8FBF-009EB359846E}" dt="2023-07-10T09:18:05.810" v="438" actId="1076"/>
          <ac:picMkLst>
            <pc:docMk/>
            <pc:sldMk cId="1409423087" sldId="2145708229"/>
            <ac:picMk id="9" creationId="{AC954418-0140-652D-E59B-92C7BEA07A99}"/>
          </ac:picMkLst>
        </pc:picChg>
        <pc:picChg chg="add mod">
          <ac:chgData name="Tamara Fehirov" userId="56fae2ac-921e-4334-bcca-d4ec9bd31689" providerId="ADAL" clId="{5AA78CD8-EEC1-44CC-8FBF-009EB359846E}" dt="2023-07-10T09:21:09.667" v="482" actId="14100"/>
          <ac:picMkLst>
            <pc:docMk/>
            <pc:sldMk cId="1409423087" sldId="2145708229"/>
            <ac:picMk id="10" creationId="{651B392D-6807-1CD5-6582-340C95F50EBA}"/>
          </ac:picMkLst>
        </pc:picChg>
        <pc:picChg chg="add mod">
          <ac:chgData name="Tamara Fehirov" userId="56fae2ac-921e-4334-bcca-d4ec9bd31689" providerId="ADAL" clId="{5AA78CD8-EEC1-44CC-8FBF-009EB359846E}" dt="2023-07-10T09:21:33.904" v="487" actId="1076"/>
          <ac:picMkLst>
            <pc:docMk/>
            <pc:sldMk cId="1409423087" sldId="2145708229"/>
            <ac:picMk id="11" creationId="{5034D613-8866-F36C-FF9E-72E61290D9AC}"/>
          </ac:picMkLst>
        </pc:picChg>
        <pc:picChg chg="add del mod">
          <ac:chgData name="Tamara Fehirov" userId="56fae2ac-921e-4334-bcca-d4ec9bd31689" providerId="ADAL" clId="{5AA78CD8-EEC1-44CC-8FBF-009EB359846E}" dt="2023-07-10T09:20:40.034" v="471" actId="478"/>
          <ac:picMkLst>
            <pc:docMk/>
            <pc:sldMk cId="1409423087" sldId="2145708229"/>
            <ac:picMk id="22" creationId="{F8E9A381-C35E-D135-C8CD-718F280135E7}"/>
          </ac:picMkLst>
        </pc:picChg>
        <pc:picChg chg="add mod modCrop">
          <ac:chgData name="Tamara Fehirov" userId="56fae2ac-921e-4334-bcca-d4ec9bd31689" providerId="ADAL" clId="{5AA78CD8-EEC1-44CC-8FBF-009EB359846E}" dt="2023-07-10T09:23:55.984" v="506" actId="732"/>
          <ac:picMkLst>
            <pc:docMk/>
            <pc:sldMk cId="1409423087" sldId="2145708229"/>
            <ac:picMk id="24" creationId="{76997BED-1C0E-C112-BC5C-1EC7F831160E}"/>
          </ac:picMkLst>
        </pc:picChg>
        <pc:picChg chg="add mod">
          <ac:chgData name="Tamara Fehirov" userId="56fae2ac-921e-4334-bcca-d4ec9bd31689" providerId="ADAL" clId="{5AA78CD8-EEC1-44CC-8FBF-009EB359846E}" dt="2023-07-10T09:23:44.648" v="504" actId="14100"/>
          <ac:picMkLst>
            <pc:docMk/>
            <pc:sldMk cId="1409423087" sldId="2145708229"/>
            <ac:picMk id="26" creationId="{0F55EC22-2B44-571F-3A6A-7494532B13A9}"/>
          </ac:picMkLst>
        </pc:picChg>
        <pc:picChg chg="add mod modCrop">
          <ac:chgData name="Tamara Fehirov" userId="56fae2ac-921e-4334-bcca-d4ec9bd31689" providerId="ADAL" clId="{5AA78CD8-EEC1-44CC-8FBF-009EB359846E}" dt="2023-07-10T09:23:13.792" v="499" actId="732"/>
          <ac:picMkLst>
            <pc:docMk/>
            <pc:sldMk cId="1409423087" sldId="2145708229"/>
            <ac:picMk id="28" creationId="{AC7C0E59-B8C9-0E2C-563D-590EF109C714}"/>
          </ac:picMkLst>
        </pc:picChg>
        <pc:cxnChg chg="del">
          <ac:chgData name="Tamara Fehirov" userId="56fae2ac-921e-4334-bcca-d4ec9bd31689" providerId="ADAL" clId="{5AA78CD8-EEC1-44CC-8FBF-009EB359846E}" dt="2023-07-10T09:16:54.581" v="411" actId="478"/>
          <ac:cxnSpMkLst>
            <pc:docMk/>
            <pc:sldMk cId="1409423087" sldId="2145708229"/>
            <ac:cxnSpMk id="37" creationId="{D97ED65E-9C9C-42AC-A292-424A030CBB79}"/>
          </ac:cxnSpMkLst>
        </pc:cxnChg>
        <pc:cxnChg chg="del">
          <ac:chgData name="Tamara Fehirov" userId="56fae2ac-921e-4334-bcca-d4ec9bd31689" providerId="ADAL" clId="{5AA78CD8-EEC1-44CC-8FBF-009EB359846E}" dt="2023-07-10T09:16:56.221" v="413" actId="478"/>
          <ac:cxnSpMkLst>
            <pc:docMk/>
            <pc:sldMk cId="1409423087" sldId="2145708229"/>
            <ac:cxnSpMk id="39" creationId="{AE635BB3-BF33-48D9-B913-EAD050A32A9B}"/>
          </ac:cxnSpMkLst>
        </pc:cxnChg>
        <pc:cxnChg chg="del">
          <ac:chgData name="Tamara Fehirov" userId="56fae2ac-921e-4334-bcca-d4ec9bd31689" providerId="ADAL" clId="{5AA78CD8-EEC1-44CC-8FBF-009EB359846E}" dt="2023-07-10T09:16:55.336" v="412" actId="478"/>
          <ac:cxnSpMkLst>
            <pc:docMk/>
            <pc:sldMk cId="1409423087" sldId="2145708229"/>
            <ac:cxnSpMk id="41" creationId="{B3E3CFA8-9B89-45AE-B2F4-1DDF76EF75D0}"/>
          </ac:cxnSpMkLst>
        </pc:cxnChg>
        <pc:cxnChg chg="del">
          <ac:chgData name="Tamara Fehirov" userId="56fae2ac-921e-4334-bcca-d4ec9bd31689" providerId="ADAL" clId="{5AA78CD8-EEC1-44CC-8FBF-009EB359846E}" dt="2023-07-10T09:17:04.836" v="423" actId="478"/>
          <ac:cxnSpMkLst>
            <pc:docMk/>
            <pc:sldMk cId="1409423087" sldId="2145708229"/>
            <ac:cxnSpMk id="42" creationId="{1AABBBD3-0314-4F18-A5CF-C095E1811CC7}"/>
          </ac:cxnSpMkLst>
        </pc:cxnChg>
        <pc:cxnChg chg="del">
          <ac:chgData name="Tamara Fehirov" userId="56fae2ac-921e-4334-bcca-d4ec9bd31689" providerId="ADAL" clId="{5AA78CD8-EEC1-44CC-8FBF-009EB359846E}" dt="2023-07-10T09:17:05.703" v="424" actId="478"/>
          <ac:cxnSpMkLst>
            <pc:docMk/>
            <pc:sldMk cId="1409423087" sldId="2145708229"/>
            <ac:cxnSpMk id="43" creationId="{09191DCD-C6A1-459E-8F4F-2318CF3FF3BA}"/>
          </ac:cxnSpMkLst>
        </pc:cxnChg>
        <pc:cxnChg chg="del">
          <ac:chgData name="Tamara Fehirov" userId="56fae2ac-921e-4334-bcca-d4ec9bd31689" providerId="ADAL" clId="{5AA78CD8-EEC1-44CC-8FBF-009EB359846E}" dt="2023-07-10T09:17:06.356" v="425" actId="478"/>
          <ac:cxnSpMkLst>
            <pc:docMk/>
            <pc:sldMk cId="1409423087" sldId="2145708229"/>
            <ac:cxnSpMk id="48" creationId="{B9D064D6-823F-42F2-A8B6-5037C53CE8C7}"/>
          </ac:cxnSpMkLst>
        </pc:cxnChg>
        <pc:cxnChg chg="del">
          <ac:chgData name="Tamara Fehirov" userId="56fae2ac-921e-4334-bcca-d4ec9bd31689" providerId="ADAL" clId="{5AA78CD8-EEC1-44CC-8FBF-009EB359846E}" dt="2023-07-10T09:17:04.306" v="422" actId="478"/>
          <ac:cxnSpMkLst>
            <pc:docMk/>
            <pc:sldMk cId="1409423087" sldId="2145708229"/>
            <ac:cxnSpMk id="49" creationId="{3CF4DDFD-CB2F-4211-B729-15EECA71367A}"/>
          </ac:cxnSpMkLst>
        </pc:cxnChg>
        <pc:cxnChg chg="del">
          <ac:chgData name="Tamara Fehirov" userId="56fae2ac-921e-4334-bcca-d4ec9bd31689" providerId="ADAL" clId="{5AA78CD8-EEC1-44CC-8FBF-009EB359846E}" dt="2023-07-10T09:17:07.459" v="427" actId="478"/>
          <ac:cxnSpMkLst>
            <pc:docMk/>
            <pc:sldMk cId="1409423087" sldId="2145708229"/>
            <ac:cxnSpMk id="50" creationId="{7FAA4B55-49DD-45B3-8230-6655C29F4EFA}"/>
          </ac:cxnSpMkLst>
        </pc:cxnChg>
      </pc:sldChg>
      <pc:sldChg chg="addSp delSp modSp add mod">
        <pc:chgData name="Tamara Fehirov" userId="56fae2ac-921e-4334-bcca-d4ec9bd31689" providerId="ADAL" clId="{5AA78CD8-EEC1-44CC-8FBF-009EB359846E}" dt="2023-07-11T09:06:32.049" v="3811" actId="20577"/>
        <pc:sldMkLst>
          <pc:docMk/>
          <pc:sldMk cId="3436737925" sldId="2145708229"/>
        </pc:sldMkLst>
        <pc:spChg chg="del mod">
          <ac:chgData name="Tamara Fehirov" userId="56fae2ac-921e-4334-bcca-d4ec9bd31689" providerId="ADAL" clId="{5AA78CD8-EEC1-44CC-8FBF-009EB359846E}" dt="2023-07-11T05:59:11.744" v="2181" actId="478"/>
          <ac:spMkLst>
            <pc:docMk/>
            <pc:sldMk cId="3436737925" sldId="2145708229"/>
            <ac:spMk id="4" creationId="{CB4DB1AF-B4B0-21F9-040A-99C31DC9EC05}"/>
          </ac:spMkLst>
        </pc:spChg>
        <pc:spChg chg="mod">
          <ac:chgData name="Tamara Fehirov" userId="56fae2ac-921e-4334-bcca-d4ec9bd31689" providerId="ADAL" clId="{5AA78CD8-EEC1-44CC-8FBF-009EB359846E}" dt="2023-07-11T06:21:04.773" v="3088" actId="20577"/>
          <ac:spMkLst>
            <pc:docMk/>
            <pc:sldMk cId="3436737925" sldId="2145708229"/>
            <ac:spMk id="5" creationId="{562099A2-3D36-ED8D-F716-D1D95D997532}"/>
          </ac:spMkLst>
        </pc:spChg>
        <pc:spChg chg="add del mod">
          <ac:chgData name="Tamara Fehirov" userId="56fae2ac-921e-4334-bcca-d4ec9bd31689" providerId="ADAL" clId="{5AA78CD8-EEC1-44CC-8FBF-009EB359846E}" dt="2023-07-11T05:59:22.594" v="2184"/>
          <ac:spMkLst>
            <pc:docMk/>
            <pc:sldMk cId="3436737925" sldId="2145708229"/>
            <ac:spMk id="7" creationId="{22D0639C-D319-9C9C-0A48-48A55574D0BF}"/>
          </ac:spMkLst>
        </pc:spChg>
        <pc:spChg chg="add del mod">
          <ac:chgData name="Tamara Fehirov" userId="56fae2ac-921e-4334-bcca-d4ec9bd31689" providerId="ADAL" clId="{5AA78CD8-EEC1-44CC-8FBF-009EB359846E}" dt="2023-07-11T06:01:34.071" v="2219"/>
          <ac:spMkLst>
            <pc:docMk/>
            <pc:sldMk cId="3436737925" sldId="2145708229"/>
            <ac:spMk id="9" creationId="{114D3628-7573-01BB-CA50-E5819E9BD9B9}"/>
          </ac:spMkLst>
        </pc:spChg>
        <pc:spChg chg="add mod">
          <ac:chgData name="Tamara Fehirov" userId="56fae2ac-921e-4334-bcca-d4ec9bd31689" providerId="ADAL" clId="{5AA78CD8-EEC1-44CC-8FBF-009EB359846E}" dt="2023-07-11T09:06:32.049" v="3811" actId="20577"/>
          <ac:spMkLst>
            <pc:docMk/>
            <pc:sldMk cId="3436737925" sldId="2145708229"/>
            <ac:spMk id="10" creationId="{002B8D6E-27EB-2FA7-63D7-2CC158397B92}"/>
          </ac:spMkLst>
        </pc:spChg>
        <pc:spChg chg="add mod">
          <ac:chgData name="Tamara Fehirov" userId="56fae2ac-921e-4334-bcca-d4ec9bd31689" providerId="ADAL" clId="{5AA78CD8-EEC1-44CC-8FBF-009EB359846E}" dt="2023-07-11T06:27:31.787" v="3464" actId="1076"/>
          <ac:spMkLst>
            <pc:docMk/>
            <pc:sldMk cId="3436737925" sldId="2145708229"/>
            <ac:spMk id="11" creationId="{A2EDA04A-A35C-4D0C-B266-EFA7ACFFB593}"/>
          </ac:spMkLst>
        </pc:spChg>
        <pc:picChg chg="mod">
          <ac:chgData name="Tamara Fehirov" userId="56fae2ac-921e-4334-bcca-d4ec9bd31689" providerId="ADAL" clId="{5AA78CD8-EEC1-44CC-8FBF-009EB359846E}" dt="2023-07-11T08:23:03.930" v="3639" actId="1076"/>
          <ac:picMkLst>
            <pc:docMk/>
            <pc:sldMk cId="3436737925" sldId="2145708229"/>
            <ac:picMk id="6" creationId="{BD786107-EA4E-B4EA-28D4-C44732BEC27C}"/>
          </ac:picMkLst>
        </pc:picChg>
      </pc:sldChg>
      <pc:sldChg chg="delSp modSp add del mod">
        <pc:chgData name="Tamara Fehirov" userId="56fae2ac-921e-4334-bcca-d4ec9bd31689" providerId="ADAL" clId="{5AA78CD8-EEC1-44CC-8FBF-009EB359846E}" dt="2023-07-26T11:10:33.827" v="3875" actId="2696"/>
        <pc:sldMkLst>
          <pc:docMk/>
          <pc:sldMk cId="320319148" sldId="2145708230"/>
        </pc:sldMkLst>
        <pc:spChg chg="del mod">
          <ac:chgData name="Tamara Fehirov" userId="56fae2ac-921e-4334-bcca-d4ec9bd31689" providerId="ADAL" clId="{5AA78CD8-EEC1-44CC-8FBF-009EB359846E}" dt="2023-07-26T11:09:04.904" v="3872" actId="478"/>
          <ac:spMkLst>
            <pc:docMk/>
            <pc:sldMk cId="320319148" sldId="2145708230"/>
            <ac:spMk id="2" creationId="{9C88D777-05D4-4EEE-AA9A-2E8DAEB51574}"/>
          </ac:spMkLst>
        </pc:spChg>
        <pc:spChg chg="del">
          <ac:chgData name="Tamara Fehirov" userId="56fae2ac-921e-4334-bcca-d4ec9bd31689" providerId="ADAL" clId="{5AA78CD8-EEC1-44CC-8FBF-009EB359846E}" dt="2023-07-26T11:09:00.958" v="3868" actId="478"/>
          <ac:spMkLst>
            <pc:docMk/>
            <pc:sldMk cId="320319148" sldId="2145708230"/>
            <ac:spMk id="40" creationId="{911262FC-7EA5-4622-9810-49450C2E4C20}"/>
          </ac:spMkLst>
        </pc:spChg>
        <pc:spChg chg="del">
          <ac:chgData name="Tamara Fehirov" userId="56fae2ac-921e-4334-bcca-d4ec9bd31689" providerId="ADAL" clId="{5AA78CD8-EEC1-44CC-8FBF-009EB359846E}" dt="2023-07-26T11:08:34.365" v="3817" actId="478"/>
          <ac:spMkLst>
            <pc:docMk/>
            <pc:sldMk cId="320319148" sldId="2145708230"/>
            <ac:spMk id="44" creationId="{8118263B-55D0-4957-892E-8793BE3A7CA5}"/>
          </ac:spMkLst>
        </pc:spChg>
        <pc:spChg chg="del">
          <ac:chgData name="Tamara Fehirov" userId="56fae2ac-921e-4334-bcca-d4ec9bd31689" providerId="ADAL" clId="{5AA78CD8-EEC1-44CC-8FBF-009EB359846E}" dt="2023-07-26T11:08:31.723" v="3815" actId="478"/>
          <ac:spMkLst>
            <pc:docMk/>
            <pc:sldMk cId="320319148" sldId="2145708230"/>
            <ac:spMk id="47" creationId="{C8621CFE-A99D-4C84-9F9B-8E93DE0C0D60}"/>
          </ac:spMkLst>
        </pc:spChg>
        <pc:spChg chg="del mod">
          <ac:chgData name="Tamara Fehirov" userId="56fae2ac-921e-4334-bcca-d4ec9bd31689" providerId="ADAL" clId="{5AA78CD8-EEC1-44CC-8FBF-009EB359846E}" dt="2023-07-26T11:08:55.948" v="3865" actId="478"/>
          <ac:spMkLst>
            <pc:docMk/>
            <pc:sldMk cId="320319148" sldId="2145708230"/>
            <ac:spMk id="51" creationId="{1A9B8A6C-D8EA-4820-88B3-F167963E496A}"/>
          </ac:spMkLst>
        </pc:spChg>
        <pc:spChg chg="del">
          <ac:chgData name="Tamara Fehirov" userId="56fae2ac-921e-4334-bcca-d4ec9bd31689" providerId="ADAL" clId="{5AA78CD8-EEC1-44CC-8FBF-009EB359846E}" dt="2023-07-26T11:08:30.471" v="3814" actId="478"/>
          <ac:spMkLst>
            <pc:docMk/>
            <pc:sldMk cId="320319148" sldId="2145708230"/>
            <ac:spMk id="59" creationId="{DCC829C1-4EE9-44AE-8534-3492C72220D2}"/>
          </ac:spMkLst>
        </pc:spChg>
        <pc:grpChg chg="del">
          <ac:chgData name="Tamara Fehirov" userId="56fae2ac-921e-4334-bcca-d4ec9bd31689" providerId="ADAL" clId="{5AA78CD8-EEC1-44CC-8FBF-009EB359846E}" dt="2023-07-26T11:08:30.471" v="3814" actId="478"/>
          <ac:grpSpMkLst>
            <pc:docMk/>
            <pc:sldMk cId="320319148" sldId="2145708230"/>
            <ac:grpSpMk id="12" creationId="{1E25C2E1-EA3E-1286-A2D4-210EAEC39CB1}"/>
          </ac:grpSpMkLst>
        </pc:grpChg>
        <pc:grpChg chg="del">
          <ac:chgData name="Tamara Fehirov" userId="56fae2ac-921e-4334-bcca-d4ec9bd31689" providerId="ADAL" clId="{5AA78CD8-EEC1-44CC-8FBF-009EB359846E}" dt="2023-07-26T11:08:30.471" v="3814" actId="478"/>
          <ac:grpSpMkLst>
            <pc:docMk/>
            <pc:sldMk cId="320319148" sldId="2145708230"/>
            <ac:grpSpMk id="29" creationId="{3A8D33EC-052F-41E4-AE60-330AEE0C013A}"/>
          </ac:grpSpMkLst>
        </pc:grpChg>
        <pc:grpChg chg="del">
          <ac:chgData name="Tamara Fehirov" userId="56fae2ac-921e-4334-bcca-d4ec9bd31689" providerId="ADAL" clId="{5AA78CD8-EEC1-44CC-8FBF-009EB359846E}" dt="2023-07-26T11:08:30.471" v="3814" actId="478"/>
          <ac:grpSpMkLst>
            <pc:docMk/>
            <pc:sldMk cId="320319148" sldId="2145708230"/>
            <ac:grpSpMk id="60" creationId="{86852CB7-09D6-4EDB-9548-AF5A1487E300}"/>
          </ac:grpSpMkLst>
        </pc:grpChg>
        <pc:grpChg chg="del">
          <ac:chgData name="Tamara Fehirov" userId="56fae2ac-921e-4334-bcca-d4ec9bd31689" providerId="ADAL" clId="{5AA78CD8-EEC1-44CC-8FBF-009EB359846E}" dt="2023-07-26T11:08:30.471" v="3814" actId="478"/>
          <ac:grpSpMkLst>
            <pc:docMk/>
            <pc:sldMk cId="320319148" sldId="2145708230"/>
            <ac:grpSpMk id="64" creationId="{7E3D84BF-74A3-4B50-8D28-1FCE13D20EBA}"/>
          </ac:grpSpMkLst>
        </pc:grpChg>
        <pc:graphicFrameChg chg="del">
          <ac:chgData name="Tamara Fehirov" userId="56fae2ac-921e-4334-bcca-d4ec9bd31689" providerId="ADAL" clId="{5AA78CD8-EEC1-44CC-8FBF-009EB359846E}" dt="2023-07-26T11:08:28.203" v="3813" actId="478"/>
          <ac:graphicFrameMkLst>
            <pc:docMk/>
            <pc:sldMk cId="320319148" sldId="2145708230"/>
            <ac:graphicFrameMk id="34" creationId="{A0D10EE8-C357-48C6-B946-E0FA99B0DF8D}"/>
          </ac:graphicFrameMkLst>
        </pc:graphicFrameChg>
        <pc:picChg chg="mod">
          <ac:chgData name="Tamara Fehirov" userId="56fae2ac-921e-4334-bcca-d4ec9bd31689" providerId="ADAL" clId="{5AA78CD8-EEC1-44CC-8FBF-009EB359846E}" dt="2023-07-26T11:09:20.068" v="3874" actId="1076"/>
          <ac:picMkLst>
            <pc:docMk/>
            <pc:sldMk cId="320319148" sldId="2145708230"/>
            <ac:picMk id="3" creationId="{1CC72006-3180-71AF-3F3B-8FD30787AD3C}"/>
          </ac:picMkLst>
        </pc:picChg>
        <pc:picChg chg="del">
          <ac:chgData name="Tamara Fehirov" userId="56fae2ac-921e-4334-bcca-d4ec9bd31689" providerId="ADAL" clId="{5AA78CD8-EEC1-44CC-8FBF-009EB359846E}" dt="2023-07-26T11:08:31.723" v="3815" actId="478"/>
          <ac:picMkLst>
            <pc:docMk/>
            <pc:sldMk cId="320319148" sldId="2145708230"/>
            <ac:picMk id="5" creationId="{6DD9929D-A272-3FC2-534C-B1835E269C85}"/>
          </ac:picMkLst>
        </pc:picChg>
        <pc:picChg chg="del">
          <ac:chgData name="Tamara Fehirov" userId="56fae2ac-921e-4334-bcca-d4ec9bd31689" providerId="ADAL" clId="{5AA78CD8-EEC1-44CC-8FBF-009EB359846E}" dt="2023-07-26T11:08:31.723" v="3815" actId="478"/>
          <ac:picMkLst>
            <pc:docMk/>
            <pc:sldMk cId="320319148" sldId="2145708230"/>
            <ac:picMk id="6" creationId="{3A6F6335-4A1C-4D23-32D9-79EC5E2F5A4B}"/>
          </ac:picMkLst>
        </pc:picChg>
        <pc:picChg chg="del">
          <ac:chgData name="Tamara Fehirov" userId="56fae2ac-921e-4334-bcca-d4ec9bd31689" providerId="ADAL" clId="{5AA78CD8-EEC1-44CC-8FBF-009EB359846E}" dt="2023-07-26T11:08:30.471" v="3814" actId="478"/>
          <ac:picMkLst>
            <pc:docMk/>
            <pc:sldMk cId="320319148" sldId="2145708230"/>
            <ac:picMk id="7" creationId="{2005B4DF-B680-4059-AE4E-7E199E66897F}"/>
          </ac:picMkLst>
        </pc:picChg>
        <pc:picChg chg="del">
          <ac:chgData name="Tamara Fehirov" userId="56fae2ac-921e-4334-bcca-d4ec9bd31689" providerId="ADAL" clId="{5AA78CD8-EEC1-44CC-8FBF-009EB359846E}" dt="2023-07-26T11:08:33.060" v="3816" actId="478"/>
          <ac:picMkLst>
            <pc:docMk/>
            <pc:sldMk cId="320319148" sldId="2145708230"/>
            <ac:picMk id="8" creationId="{3CB4A643-D3B9-D3D3-647B-28BD147E20FC}"/>
          </ac:picMkLst>
        </pc:picChg>
        <pc:cxnChg chg="del">
          <ac:chgData name="Tamara Fehirov" userId="56fae2ac-921e-4334-bcca-d4ec9bd31689" providerId="ADAL" clId="{5AA78CD8-EEC1-44CC-8FBF-009EB359846E}" dt="2023-07-26T11:08:33.060" v="3816" actId="478"/>
          <ac:cxnSpMkLst>
            <pc:docMk/>
            <pc:sldMk cId="320319148" sldId="2145708230"/>
            <ac:cxnSpMk id="37" creationId="{D97ED65E-9C9C-42AC-A292-424A030CBB79}"/>
          </ac:cxnSpMkLst>
        </pc:cxnChg>
        <pc:cxnChg chg="del">
          <ac:chgData name="Tamara Fehirov" userId="56fae2ac-921e-4334-bcca-d4ec9bd31689" providerId="ADAL" clId="{5AA78CD8-EEC1-44CC-8FBF-009EB359846E}" dt="2023-07-26T11:08:35.520" v="3818" actId="478"/>
          <ac:cxnSpMkLst>
            <pc:docMk/>
            <pc:sldMk cId="320319148" sldId="2145708230"/>
            <ac:cxnSpMk id="39" creationId="{AE635BB3-BF33-48D9-B913-EAD050A32A9B}"/>
          </ac:cxnSpMkLst>
        </pc:cxnChg>
        <pc:cxnChg chg="del">
          <ac:chgData name="Tamara Fehirov" userId="56fae2ac-921e-4334-bcca-d4ec9bd31689" providerId="ADAL" clId="{5AA78CD8-EEC1-44CC-8FBF-009EB359846E}" dt="2023-07-26T11:08:33.060" v="3816" actId="478"/>
          <ac:cxnSpMkLst>
            <pc:docMk/>
            <pc:sldMk cId="320319148" sldId="2145708230"/>
            <ac:cxnSpMk id="41" creationId="{B3E3CFA8-9B89-45AE-B2F4-1DDF76EF75D0}"/>
          </ac:cxnSpMkLst>
        </pc:cxnChg>
        <pc:cxnChg chg="del">
          <ac:chgData name="Tamara Fehirov" userId="56fae2ac-921e-4334-bcca-d4ec9bd31689" providerId="ADAL" clId="{5AA78CD8-EEC1-44CC-8FBF-009EB359846E}" dt="2023-07-26T11:08:33.060" v="3816" actId="478"/>
          <ac:cxnSpMkLst>
            <pc:docMk/>
            <pc:sldMk cId="320319148" sldId="2145708230"/>
            <ac:cxnSpMk id="42" creationId="{1AABBBD3-0314-4F18-A5CF-C095E1811CC7}"/>
          </ac:cxnSpMkLst>
        </pc:cxnChg>
        <pc:cxnChg chg="del">
          <ac:chgData name="Tamara Fehirov" userId="56fae2ac-921e-4334-bcca-d4ec9bd31689" providerId="ADAL" clId="{5AA78CD8-EEC1-44CC-8FBF-009EB359846E}" dt="2023-07-26T11:08:33.060" v="3816" actId="478"/>
          <ac:cxnSpMkLst>
            <pc:docMk/>
            <pc:sldMk cId="320319148" sldId="2145708230"/>
            <ac:cxnSpMk id="43" creationId="{09191DCD-C6A1-459E-8F4F-2318CF3FF3BA}"/>
          </ac:cxnSpMkLst>
        </pc:cxnChg>
        <pc:cxnChg chg="del">
          <ac:chgData name="Tamara Fehirov" userId="56fae2ac-921e-4334-bcca-d4ec9bd31689" providerId="ADAL" clId="{5AA78CD8-EEC1-44CC-8FBF-009EB359846E}" dt="2023-07-26T11:08:33.060" v="3816" actId="478"/>
          <ac:cxnSpMkLst>
            <pc:docMk/>
            <pc:sldMk cId="320319148" sldId="2145708230"/>
            <ac:cxnSpMk id="48" creationId="{B9D064D6-823F-42F2-A8B6-5037C53CE8C7}"/>
          </ac:cxnSpMkLst>
        </pc:cxnChg>
        <pc:cxnChg chg="del">
          <ac:chgData name="Tamara Fehirov" userId="56fae2ac-921e-4334-bcca-d4ec9bd31689" providerId="ADAL" clId="{5AA78CD8-EEC1-44CC-8FBF-009EB359846E}" dt="2023-07-26T11:08:33.060" v="3816" actId="478"/>
          <ac:cxnSpMkLst>
            <pc:docMk/>
            <pc:sldMk cId="320319148" sldId="2145708230"/>
            <ac:cxnSpMk id="49" creationId="{3CF4DDFD-CB2F-4211-B729-15EECA71367A}"/>
          </ac:cxnSpMkLst>
        </pc:cxnChg>
        <pc:cxnChg chg="del">
          <ac:chgData name="Tamara Fehirov" userId="56fae2ac-921e-4334-bcca-d4ec9bd31689" providerId="ADAL" clId="{5AA78CD8-EEC1-44CC-8FBF-009EB359846E}" dt="2023-07-26T11:08:33.060" v="3816" actId="478"/>
          <ac:cxnSpMkLst>
            <pc:docMk/>
            <pc:sldMk cId="320319148" sldId="2145708230"/>
            <ac:cxnSpMk id="50" creationId="{7FAA4B55-49DD-45B3-8230-6655C29F4EFA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D5E154-442A-4517-B3E4-3C7D1AC26190}" type="datetimeFigureOut">
              <a:rPr lang="de-DE" smtClean="0"/>
              <a:t>26.07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47C675-675D-4D3B-8334-81D3272D6F6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51414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0B28D4-D285-43F7-9ED5-C6CAE9BB2F32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7125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9">
            <a:extLst>
              <a:ext uri="{FF2B5EF4-FFF2-40B4-BE49-F238E27FC236}">
                <a16:creationId xmlns:a16="http://schemas.microsoft.com/office/drawing/2014/main" id="{D954AC73-D12F-4873-A18B-190C7B2DAD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numCol="1"/>
          <a:lstStyle/>
          <a:p>
            <a:r>
              <a:rPr lang="de-DE"/>
              <a:t>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E818BA9C-42A6-4671-80BE-766EB47ABF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800" y="3754800"/>
            <a:ext cx="5400000" cy="1956926"/>
          </a:xfrm>
          <a:prstGeom prst="rect">
            <a:avLst/>
          </a:prstGeom>
        </p:spPr>
        <p:txBody>
          <a:bodyPr lIns="86400" numCol="1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irst </a:t>
            </a:r>
            <a:r>
              <a:rPr lang="de-DE" err="1"/>
              <a:t>name</a:t>
            </a:r>
            <a:r>
              <a:rPr lang="de-DE"/>
              <a:t> last </a:t>
            </a:r>
            <a:r>
              <a:rPr lang="de-DE" err="1"/>
              <a:t>name</a:t>
            </a:r>
            <a:r>
              <a:rPr lang="de-DE"/>
              <a:t>,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First </a:t>
            </a:r>
            <a:r>
              <a:rPr lang="de-DE" err="1"/>
              <a:t>name</a:t>
            </a:r>
            <a:r>
              <a:rPr lang="de-DE"/>
              <a:t> last </a:t>
            </a:r>
            <a:r>
              <a:rPr lang="de-DE" err="1"/>
              <a:t>name</a:t>
            </a:r>
            <a:r>
              <a:rPr lang="de-DE"/>
              <a:t>,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First </a:t>
            </a:r>
            <a:r>
              <a:rPr lang="de-DE" err="1"/>
              <a:t>name</a:t>
            </a:r>
            <a:r>
              <a:rPr lang="de-DE"/>
              <a:t> last </a:t>
            </a:r>
            <a:r>
              <a:rPr lang="de-DE" err="1"/>
              <a:t>name</a:t>
            </a:r>
            <a:r>
              <a:rPr lang="de-DE"/>
              <a:t>, title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3597877B-9F9F-3740-B682-CAD1E60BE4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1274400"/>
            <a:ext cx="5400675" cy="2473200"/>
          </a:xfrm>
        </p:spPr>
        <p:txBody>
          <a:bodyPr lIns="54000" numCol="1" anchor="b">
            <a:noAutofit/>
          </a:bodyPr>
          <a:lstStyle>
            <a:lvl1pPr algn="l">
              <a:lnSpc>
                <a:spcPct val="90000"/>
              </a:lnSpc>
              <a:defRPr sz="5000" b="0" i="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Edit Headline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855FB186-40EE-E249-92F0-394617EB0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800" y="6315138"/>
            <a:ext cx="1706787" cy="307975"/>
          </a:xfrm>
          <a:prstGeom prst="rect">
            <a:avLst/>
          </a:prstGeom>
        </p:spPr>
        <p:txBody>
          <a:bodyPr lIns="97200" numCol="1"/>
          <a:lstStyle>
            <a:lvl1pPr marL="0" indent="0">
              <a:buNone/>
              <a:defRPr sz="1200" b="0" i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/>
            </a:lvl2pPr>
            <a:lvl3pPr marL="914400" indent="0">
              <a:buFont typeface="Arial" panose="020B0604020202020204" pitchFamily="34" charset="0"/>
              <a:buNone/>
              <a:defRPr sz="1400"/>
            </a:lvl3pPr>
            <a:lvl4pPr marL="1371600" indent="0">
              <a:buFont typeface="Arial" panose="020B0604020202020204" pitchFamily="34" charset="0"/>
              <a:buNone/>
              <a:defRPr sz="1400"/>
            </a:lvl4pPr>
            <a:lvl5pPr marL="182880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err="1"/>
              <a:t>Month</a:t>
            </a:r>
            <a:r>
              <a:rPr lang="de-DE"/>
              <a:t> 2020</a:t>
            </a:r>
          </a:p>
        </p:txBody>
      </p:sp>
    </p:spTree>
    <p:extLst>
      <p:ext uri="{BB962C8B-B14F-4D97-AF65-F5344CB8AC3E}">
        <p14:creationId xmlns:p14="http://schemas.microsoft.com/office/powerpoint/2010/main" val="18443010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: contact + Financial Cale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D22CA260-B0FC-B241-9D23-A890432CB3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4718" y="3500823"/>
            <a:ext cx="197047" cy="197047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16D6F927-4A13-0141-A560-47622A98DC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4497" y="3919840"/>
            <a:ext cx="207156" cy="155367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CDBCC17-746C-C04C-B5B2-7E1FAB2CFA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9526" y="4280921"/>
            <a:ext cx="235152" cy="235152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9469F2A-E2C6-2A47-9BE2-D63D118DED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2" y="1978505"/>
            <a:ext cx="5400675" cy="736767"/>
          </a:xfrm>
        </p:spPr>
        <p:txBody>
          <a:bodyPr numCol="1" anchor="b"/>
          <a:lstStyle>
            <a:lvl1pPr marL="0" indent="0">
              <a:buNone/>
              <a:defRPr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de-DE"/>
              <a:t>First Name Last Name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8F06AA4E-B3E4-A64B-A3BA-7E0BD333D2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2" y="2721600"/>
            <a:ext cx="5400675" cy="670484"/>
          </a:xfrm>
        </p:spPr>
        <p:txBody>
          <a:bodyPr numCol="1" anchor="t"/>
          <a:lstStyle>
            <a:lvl1pPr marL="0" indent="0">
              <a:buNone/>
              <a:defRPr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CDAF6BF5-104B-A843-9618-3C0DA12D30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3398400"/>
            <a:ext cx="5076825" cy="393468"/>
          </a:xfrm>
        </p:spPr>
        <p:txBody>
          <a:bodyPr lIns="108000" numCol="1" anchor="t"/>
          <a:lstStyle>
            <a:lvl1pPr marL="0" indent="0">
              <a:buNone/>
              <a:defRPr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+00 000 000 0000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3D2A1C3F-1039-1D46-9750-9BA2437A8A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3" y="3798000"/>
            <a:ext cx="5076825" cy="393468"/>
          </a:xfrm>
        </p:spPr>
        <p:txBody>
          <a:bodyPr lIns="108000" numCol="1" anchor="t"/>
          <a:lstStyle>
            <a:lvl1pPr marL="0" indent="0" algn="l">
              <a:buNone/>
              <a:defRPr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firstname.lastname@kloeckner.com</a:t>
            </a:r>
            <a:endParaRPr lang="de-DE"/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8BEF2B38-B653-844A-B922-F943EDC814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8813" y="4197600"/>
            <a:ext cx="5076825" cy="393468"/>
          </a:xfrm>
        </p:spPr>
        <p:txBody>
          <a:bodyPr lIns="108000" numCol="1" anchor="t"/>
          <a:lstStyle>
            <a:lvl1pPr marL="0" indent="0" algn="l">
              <a:buNone/>
              <a:defRPr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www.kloeckner.com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F4930995-005E-9045-9273-C985A0DCB5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56363" y="1800000"/>
            <a:ext cx="5400676" cy="4320000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/>
              <a:t>00 </a:t>
            </a:r>
            <a:r>
              <a:rPr lang="de-DE" err="1"/>
              <a:t>Month</a:t>
            </a:r>
            <a:r>
              <a:rPr lang="de-DE"/>
              <a:t> 0000</a:t>
            </a:r>
            <a:br>
              <a:rPr lang="de-DE"/>
            </a:br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event</a:t>
            </a:r>
            <a:r>
              <a:rPr lang="de-DE"/>
              <a:t> / et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de-D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/>
              <a:t>00 </a:t>
            </a:r>
            <a:r>
              <a:rPr lang="de-DE" err="1"/>
              <a:t>Month</a:t>
            </a:r>
            <a:r>
              <a:rPr lang="de-DE"/>
              <a:t> 0000</a:t>
            </a:r>
            <a:br>
              <a:rPr lang="de-DE"/>
            </a:br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event</a:t>
            </a:r>
            <a:r>
              <a:rPr lang="de-DE"/>
              <a:t> / et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de-D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/>
              <a:t>00 </a:t>
            </a:r>
            <a:r>
              <a:rPr lang="de-DE" err="1"/>
              <a:t>Month</a:t>
            </a:r>
            <a:r>
              <a:rPr lang="de-DE"/>
              <a:t> 0000</a:t>
            </a:r>
            <a:br>
              <a:rPr lang="de-DE"/>
            </a:br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event</a:t>
            </a:r>
            <a:r>
              <a:rPr lang="de-DE"/>
              <a:t> / et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de-D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/>
              <a:t>00 </a:t>
            </a:r>
            <a:r>
              <a:rPr lang="de-DE" err="1"/>
              <a:t>Month</a:t>
            </a:r>
            <a:r>
              <a:rPr lang="de-DE"/>
              <a:t> 0000</a:t>
            </a:r>
            <a:br>
              <a:rPr lang="de-DE"/>
            </a:br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event</a:t>
            </a:r>
            <a:r>
              <a:rPr lang="de-DE"/>
              <a:t> / et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de-DE"/>
          </a:p>
        </p:txBody>
      </p:sp>
      <p:sp>
        <p:nvSpPr>
          <p:cNvPr id="23" name="Titelplatzhalter 1">
            <a:extLst>
              <a:ext uri="{FF2B5EF4-FFF2-40B4-BE49-F238E27FC236}">
                <a16:creationId xmlns:a16="http://schemas.microsoft.com/office/drawing/2014/main" id="{69986FE6-305A-764B-B985-67E64C1B79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362" y="1270800"/>
            <a:ext cx="5400675" cy="522000"/>
          </a:xfrm>
          <a:prstGeom prst="rect">
            <a:avLst/>
          </a:prstGeom>
        </p:spPr>
        <p:txBody>
          <a:bodyPr vert="horz" lIns="91440" tIns="45720" rIns="91440" bIns="45720" numCol="1" rtlCol="0" anchor="ctr">
            <a:noAutofit/>
          </a:bodyPr>
          <a:lstStyle>
            <a:lvl1pPr>
              <a:defRPr sz="1800" b="0" i="0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Financial </a:t>
            </a:r>
            <a:r>
              <a:rPr lang="de-DE" err="1"/>
              <a:t>Calendar</a:t>
            </a:r>
            <a:endParaRPr lang="de-DE"/>
          </a:p>
        </p:txBody>
      </p:sp>
      <p:pic>
        <p:nvPicPr>
          <p:cNvPr id="24" name="Grafik 10">
            <a:extLst>
              <a:ext uri="{FF2B5EF4-FFF2-40B4-BE49-F238E27FC236}">
                <a16:creationId xmlns:a16="http://schemas.microsoft.com/office/drawing/2014/main" id="{8D26FECE-1951-8B4F-A4F6-D559608C7F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2693" r="-2693"/>
          <a:stretch/>
        </p:blipFill>
        <p:spPr>
          <a:xfrm>
            <a:off x="334800" y="276501"/>
            <a:ext cx="1470462" cy="756000"/>
          </a:xfrm>
          <a:prstGeom prst="rect">
            <a:avLst/>
          </a:prstGeom>
        </p:spPr>
      </p:pic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5E5FE80-42B3-304B-A95D-4A59C0F7B5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B9899677-680B-4C13-99E5-B47CB5F24B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rch 2022  | KCD KMA KMNL |  Monthly Country Update Cal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84700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694800" y="648000"/>
            <a:ext cx="10980000" cy="540000"/>
          </a:xfrm>
        </p:spPr>
        <p:txBody>
          <a:bodyPr lIns="0" tIns="90000" rIns="90000" bIns="90000" anchor="t" anchorCtr="0">
            <a:normAutofit/>
          </a:bodyPr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de-DE"/>
              <a:t>Agenda title</a:t>
            </a:r>
          </a:p>
        </p:txBody>
      </p:sp>
      <p:sp>
        <p:nvSpPr>
          <p:cNvPr id="6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  <a:prstGeom prst="rect">
            <a:avLst/>
          </a:prstGeom>
        </p:spPr>
        <p:txBody>
          <a:bodyPr/>
          <a:lstStyle/>
          <a:p>
            <a:fld id="{C14EB585-F68D-40F7-B9F5-62C18B789D14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Inhaltsplatzhalter"/>
          <p:cNvSpPr>
            <a:spLocks noGrp="1"/>
          </p:cNvSpPr>
          <p:nvPr>
            <p:ph sz="quarter" idx="13" hasCustomPrompt="1"/>
          </p:nvPr>
        </p:nvSpPr>
        <p:spPr>
          <a:xfrm>
            <a:off x="694800" y="1476000"/>
            <a:ext cx="10980000" cy="4500000"/>
          </a:xfr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</p:txBody>
      </p:sp>
    </p:spTree>
    <p:extLst>
      <p:ext uri="{BB962C8B-B14F-4D97-AF65-F5344CB8AC3E}">
        <p14:creationId xmlns:p14="http://schemas.microsoft.com/office/powerpoint/2010/main" val="34901236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9">
            <a:extLst>
              <a:ext uri="{FF2B5EF4-FFF2-40B4-BE49-F238E27FC236}">
                <a16:creationId xmlns:a16="http://schemas.microsoft.com/office/drawing/2014/main" id="{D954AC73-D12F-4873-A18B-190C7B2DAD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numCol="1"/>
          <a:lstStyle/>
          <a:p>
            <a:r>
              <a:rPr lang="de-DE"/>
              <a:t>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E818BA9C-42A6-4671-80BE-766EB47ABF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800" y="3754800"/>
            <a:ext cx="5400000" cy="1956926"/>
          </a:xfrm>
          <a:prstGeom prst="rect">
            <a:avLst/>
          </a:prstGeom>
        </p:spPr>
        <p:txBody>
          <a:bodyPr lIns="86400" numCol="1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irst </a:t>
            </a:r>
            <a:r>
              <a:rPr lang="de-DE" err="1"/>
              <a:t>name</a:t>
            </a:r>
            <a:r>
              <a:rPr lang="de-DE"/>
              <a:t> last </a:t>
            </a:r>
            <a:r>
              <a:rPr lang="de-DE" err="1"/>
              <a:t>name</a:t>
            </a:r>
            <a:r>
              <a:rPr lang="de-DE"/>
              <a:t>,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First </a:t>
            </a:r>
            <a:r>
              <a:rPr lang="de-DE" err="1"/>
              <a:t>name</a:t>
            </a:r>
            <a:r>
              <a:rPr lang="de-DE"/>
              <a:t> last </a:t>
            </a:r>
            <a:r>
              <a:rPr lang="de-DE" err="1"/>
              <a:t>name</a:t>
            </a:r>
            <a:r>
              <a:rPr lang="de-DE"/>
              <a:t>,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First </a:t>
            </a:r>
            <a:r>
              <a:rPr lang="de-DE" err="1"/>
              <a:t>name</a:t>
            </a:r>
            <a:r>
              <a:rPr lang="de-DE"/>
              <a:t> last </a:t>
            </a:r>
            <a:r>
              <a:rPr lang="de-DE" err="1"/>
              <a:t>name</a:t>
            </a:r>
            <a:r>
              <a:rPr lang="de-DE"/>
              <a:t>, title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3597877B-9F9F-3740-B682-CAD1E60BE4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1274400"/>
            <a:ext cx="5400675" cy="2473200"/>
          </a:xfrm>
        </p:spPr>
        <p:txBody>
          <a:bodyPr lIns="54000" numCol="1" anchor="b">
            <a:noAutofit/>
          </a:bodyPr>
          <a:lstStyle>
            <a:lvl1pPr algn="l">
              <a:lnSpc>
                <a:spcPct val="90000"/>
              </a:lnSpc>
              <a:defRPr sz="5000" b="0" i="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Edit Headline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855FB186-40EE-E249-92F0-394617EB0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800" y="6315138"/>
            <a:ext cx="1706787" cy="307975"/>
          </a:xfrm>
          <a:prstGeom prst="rect">
            <a:avLst/>
          </a:prstGeom>
        </p:spPr>
        <p:txBody>
          <a:bodyPr lIns="97200" numCol="1"/>
          <a:lstStyle>
            <a:lvl1pPr marL="0" indent="0">
              <a:buNone/>
              <a:defRPr sz="1200" b="0" i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/>
            </a:lvl2pPr>
            <a:lvl3pPr marL="914400" indent="0">
              <a:buFont typeface="Arial" panose="020B0604020202020204" pitchFamily="34" charset="0"/>
              <a:buNone/>
              <a:defRPr sz="1400"/>
            </a:lvl3pPr>
            <a:lvl4pPr marL="1371600" indent="0">
              <a:buFont typeface="Arial" panose="020B0604020202020204" pitchFamily="34" charset="0"/>
              <a:buNone/>
              <a:defRPr sz="1400"/>
            </a:lvl4pPr>
            <a:lvl5pPr marL="182880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err="1"/>
              <a:t>Month</a:t>
            </a:r>
            <a:r>
              <a:rPr lang="de-DE"/>
              <a:t> 2020</a:t>
            </a:r>
          </a:p>
        </p:txBody>
      </p:sp>
    </p:spTree>
    <p:extLst>
      <p:ext uri="{BB962C8B-B14F-4D97-AF65-F5344CB8AC3E}">
        <p14:creationId xmlns:p14="http://schemas.microsoft.com/office/powerpoint/2010/main" val="12655315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9">
            <a:extLst>
              <a:ext uri="{FF2B5EF4-FFF2-40B4-BE49-F238E27FC236}">
                <a16:creationId xmlns:a16="http://schemas.microsoft.com/office/drawing/2014/main" id="{D954AC73-D12F-4873-A18B-190C7B2DAD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numCol="1"/>
          <a:lstStyle/>
          <a:p>
            <a:r>
              <a:rPr lang="de-DE"/>
              <a:t>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8F4EA29C-884A-4938-88E0-D262FBA1BA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800" y="6315138"/>
            <a:ext cx="1706787" cy="307975"/>
          </a:xfrm>
          <a:prstGeom prst="rect">
            <a:avLst/>
          </a:prstGeom>
        </p:spPr>
        <p:txBody>
          <a:bodyPr lIns="97200" numCol="1"/>
          <a:lstStyle>
            <a:lvl1pPr marL="0" indent="0">
              <a:buNone/>
              <a:defRPr sz="1200" b="0" i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/>
            </a:lvl2pPr>
            <a:lvl3pPr marL="914400" indent="0">
              <a:buFont typeface="Arial" panose="020B0604020202020204" pitchFamily="34" charset="0"/>
              <a:buNone/>
              <a:defRPr sz="1400"/>
            </a:lvl3pPr>
            <a:lvl4pPr marL="1371600" indent="0">
              <a:buFont typeface="Arial" panose="020B0604020202020204" pitchFamily="34" charset="0"/>
              <a:buNone/>
              <a:defRPr sz="1400"/>
            </a:lvl4pPr>
            <a:lvl5pPr marL="182880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err="1"/>
              <a:t>Month</a:t>
            </a:r>
            <a:r>
              <a:rPr lang="de-DE"/>
              <a:t> 2020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B566BB62-605C-4DAA-A75D-20CB802CE5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799" y="4381200"/>
            <a:ext cx="5400000" cy="1560830"/>
          </a:xfrm>
          <a:prstGeom prst="rect">
            <a:avLst/>
          </a:prstGeom>
        </p:spPr>
        <p:txBody>
          <a:bodyPr lIns="86400" numCol="1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 baseline="0">
                <a:solidFill>
                  <a:schemeClr val="tx1"/>
                </a:solidFill>
                <a:latin typeface="Kl Bliss Regular" panose="02010006030000020004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irst </a:t>
            </a:r>
            <a:r>
              <a:rPr lang="de-DE" err="1"/>
              <a:t>name</a:t>
            </a:r>
            <a:r>
              <a:rPr lang="de-DE"/>
              <a:t> last </a:t>
            </a:r>
            <a:r>
              <a:rPr lang="de-DE" err="1"/>
              <a:t>name</a:t>
            </a:r>
            <a:r>
              <a:rPr lang="de-DE"/>
              <a:t>,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First </a:t>
            </a:r>
            <a:r>
              <a:rPr lang="de-DE" err="1"/>
              <a:t>name</a:t>
            </a:r>
            <a:r>
              <a:rPr lang="de-DE"/>
              <a:t> last </a:t>
            </a:r>
            <a:r>
              <a:rPr lang="de-DE" err="1"/>
              <a:t>name</a:t>
            </a:r>
            <a:r>
              <a:rPr lang="de-DE"/>
              <a:t>,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First </a:t>
            </a:r>
            <a:r>
              <a:rPr lang="de-DE" err="1"/>
              <a:t>name</a:t>
            </a:r>
            <a:r>
              <a:rPr lang="de-DE"/>
              <a:t> last </a:t>
            </a:r>
            <a:r>
              <a:rPr lang="de-DE" err="1"/>
              <a:t>name</a:t>
            </a:r>
            <a:r>
              <a:rPr lang="de-DE"/>
              <a:t>, title</a:t>
            </a:r>
          </a:p>
        </p:txBody>
      </p:sp>
      <p:pic>
        <p:nvPicPr>
          <p:cNvPr id="8" name="Grafik 10">
            <a:extLst>
              <a:ext uri="{FF2B5EF4-FFF2-40B4-BE49-F238E27FC236}">
                <a16:creationId xmlns:a16="http://schemas.microsoft.com/office/drawing/2014/main" id="{3BBB917F-BC28-B840-8EA0-2F2F95D01E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93" r="-2693"/>
          <a:stretch/>
        </p:blipFill>
        <p:spPr>
          <a:xfrm>
            <a:off x="334800" y="276501"/>
            <a:ext cx="1470462" cy="756000"/>
          </a:xfrm>
          <a:prstGeom prst="rect">
            <a:avLst/>
          </a:prstGeom>
        </p:spPr>
      </p:pic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62D80385-A65E-8F42-B07C-772FF2A968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2" y="3754800"/>
            <a:ext cx="5400675" cy="619200"/>
          </a:xfrm>
          <a:prstGeom prst="rect">
            <a:avLst/>
          </a:prstGeom>
        </p:spPr>
        <p:txBody>
          <a:bodyPr numCol="1"/>
          <a:lstStyle>
            <a:lvl1pPr marL="0" indent="0">
              <a:buNone/>
              <a:defRPr sz="2000" b="1">
                <a:latin typeface="+mn-lt"/>
              </a:defRPr>
            </a:lvl1pPr>
          </a:lstStyle>
          <a:p>
            <a:r>
              <a:rPr lang="de-DE" sz="1800">
                <a:solidFill>
                  <a:schemeClr val="tx1"/>
                </a:solidFill>
              </a:rPr>
              <a:t>Edit </a:t>
            </a:r>
            <a:r>
              <a:rPr lang="de-DE" sz="1800" err="1">
                <a:solidFill>
                  <a:schemeClr val="tx1"/>
                </a:solidFill>
              </a:rPr>
              <a:t>subtitle</a:t>
            </a:r>
            <a:endParaRPr lang="de-DE" sz="1800">
              <a:solidFill>
                <a:schemeClr val="tx1"/>
              </a:solidFill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0FD939CE-4B83-EB43-9D77-6D64F5155A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1274400"/>
            <a:ext cx="5400675" cy="2473200"/>
          </a:xfrm>
        </p:spPr>
        <p:txBody>
          <a:bodyPr lIns="54000" numCol="1" anchor="b">
            <a:noAutofit/>
          </a:bodyPr>
          <a:lstStyle>
            <a:lvl1pPr algn="l">
              <a:lnSpc>
                <a:spcPct val="90000"/>
              </a:lnSpc>
              <a:defRPr sz="5000" b="0" i="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Edit Headline</a:t>
            </a:r>
          </a:p>
        </p:txBody>
      </p:sp>
    </p:spTree>
    <p:extLst>
      <p:ext uri="{BB962C8B-B14F-4D97-AF65-F5344CB8AC3E}">
        <p14:creationId xmlns:p14="http://schemas.microsoft.com/office/powerpoint/2010/main" val="35716632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: Aufzählung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Untertitel 2">
            <a:extLst>
              <a:ext uri="{FF2B5EF4-FFF2-40B4-BE49-F238E27FC236}">
                <a16:creationId xmlns:a16="http://schemas.microsoft.com/office/drawing/2014/main" id="{E8D68FE5-E8F6-1848-9C05-5824B2D2C4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800" y="1274400"/>
            <a:ext cx="5390612" cy="4321175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457200" marR="0" indent="-4572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2400" b="0" i="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err="1"/>
              <a:t>Number</a:t>
            </a:r>
            <a:r>
              <a:rPr lang="de-DE"/>
              <a:t> </a:t>
            </a:r>
            <a:r>
              <a:rPr lang="de-DE" err="1"/>
              <a:t>one</a:t>
            </a:r>
            <a:endParaRPr lang="de-DE"/>
          </a:p>
          <a:p>
            <a:r>
              <a:rPr lang="de-DE" err="1"/>
              <a:t>Number</a:t>
            </a:r>
            <a:r>
              <a:rPr lang="de-DE"/>
              <a:t> </a:t>
            </a:r>
            <a:r>
              <a:rPr lang="de-DE" err="1"/>
              <a:t>two</a:t>
            </a:r>
            <a:endParaRPr lang="de-DE"/>
          </a:p>
          <a:p>
            <a:r>
              <a:rPr lang="de-DE" err="1"/>
              <a:t>Number</a:t>
            </a:r>
            <a:r>
              <a:rPr lang="de-DE"/>
              <a:t> </a:t>
            </a:r>
            <a:r>
              <a:rPr lang="de-DE" err="1"/>
              <a:t>three</a:t>
            </a:r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44FB36A-ED1D-9348-BD27-FB0BD8BB729C}"/>
              </a:ext>
            </a:extLst>
          </p:cNvPr>
          <p:cNvSpPr txBox="1"/>
          <p:nvPr userDrawn="1"/>
        </p:nvSpPr>
        <p:spPr>
          <a:xfrm>
            <a:off x="334963" y="324000"/>
            <a:ext cx="5410382" cy="4247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de-DE" sz="24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9" name="Bildplatzhalter 9">
            <a:extLst>
              <a:ext uri="{FF2B5EF4-FFF2-40B4-BE49-F238E27FC236}">
                <a16:creationId xmlns:a16="http://schemas.microsoft.com/office/drawing/2014/main" id="{D262E312-06ED-FC4A-AAA2-2175D86BBB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numCol="1"/>
          <a:lstStyle/>
          <a:p>
            <a:r>
              <a:rPr lang="de-DE"/>
              <a:t>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D7FE315-A2D5-A34E-9A4D-73C876F10C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9724293-1F3B-42B6-BCDC-2FF59CB162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y 2022  | KCD KMA KMNL |  Monthly Country Update Cal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81047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1: Überschrift + Text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3B866A09-6D9C-7440-87FB-A8856BDEA3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324196"/>
            <a:ext cx="11522075" cy="9432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b="0" i="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Edit Headli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862BA42-4425-0143-81C1-89FE7A5AFE6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4962" y="3599098"/>
            <a:ext cx="11522076" cy="2872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 b="0" i="0">
                <a:latin typeface="Kl Bliss Office" panose="02000506030000020004" pitchFamily="2" charset="0"/>
              </a:defRPr>
            </a:lvl5pPr>
          </a:lstStyle>
          <a:p>
            <a:r>
              <a:rPr lang="de-DE"/>
              <a:t>Add </a:t>
            </a:r>
            <a:r>
              <a:rPr lang="de-DE" err="1"/>
              <a:t>tabl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diagram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12FBEE-1B67-4A32-AAF4-C5CA049B2FC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963" y="1274400"/>
            <a:ext cx="11522075" cy="23184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8C4986E-61E0-DD49-8E55-92123D7091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0087596E-15F2-42AE-8D09-E9D1110FC3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y 2022  | KCD KMA KMNL |  Monthly Country Update Cal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60864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: Überschrift + Text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F7127F81-12E5-024C-92A9-6954E0773B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324195"/>
            <a:ext cx="11522076" cy="943200"/>
          </a:xfrm>
          <a:prstGeom prst="rect">
            <a:avLst/>
          </a:prstGeom>
        </p:spPr>
        <p:txBody>
          <a:bodyPr vert="horz" lIns="91440" tIns="45720" rIns="91440" bIns="45720" numCol="1" rtlCol="0" anchor="t">
            <a:noAutofit/>
          </a:bodyPr>
          <a:lstStyle>
            <a:lvl1pPr>
              <a:defRPr b="0" i="0" cap="all" baseline="0">
                <a:latin typeface="+mj-lt"/>
              </a:defRPr>
            </a:lvl1pPr>
          </a:lstStyle>
          <a:p>
            <a:r>
              <a:rPr lang="de-DE"/>
              <a:t>Edit Headline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D75B7DF4-7EC4-0E49-BABB-BEB5E5C09B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2" y="1274400"/>
            <a:ext cx="5400000" cy="5198400"/>
          </a:xfrm>
          <a:prstGeom prst="rect">
            <a:avLst/>
          </a:prstGeom>
        </p:spPr>
        <p:txBody>
          <a:bodyPr vert="horz" lIns="91440" tIns="45720" rIns="91440" bIns="45720" numCol="1" spcCol="360000" rtlCol="0" anchor="t">
            <a:noAutofit/>
          </a:bodyPr>
          <a:lstStyle>
            <a:lvl1pPr marL="230400" indent="-230400">
              <a:buFont typeface="Wingdings" pitchFamily="2" charset="2"/>
              <a:buChar char="§"/>
              <a:defRPr b="0" i="0">
                <a:latin typeface="+mn-lt"/>
              </a:defRPr>
            </a:lvl1pPr>
          </a:lstStyle>
          <a:p>
            <a:r>
              <a:rPr lang="de-DE"/>
              <a:t>Add </a:t>
            </a:r>
            <a:r>
              <a:rPr lang="de-DE" err="1"/>
              <a:t>tabl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diagram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C80F21-352F-4EF5-9A57-EEC119D08E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56363" y="1274400"/>
            <a:ext cx="5400000" cy="5198400"/>
          </a:xfrm>
        </p:spPr>
        <p:txBody>
          <a:bodyPr numCol="1"/>
          <a:lstStyle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4F7BE26-2E06-484C-BD1F-36D8CF107C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280B13A-90A9-474D-AF5B-EA478B290E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y 2022  | KCD KMA KMNL |  Monthly Country Update Cal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89966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: Überschrift +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E6C5B266-9C7E-8343-BB80-EB29AA7299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800" y="324000"/>
            <a:ext cx="5400000" cy="943200"/>
          </a:xfrm>
          <a:prstGeom prst="rect">
            <a:avLst/>
          </a:prstGeom>
        </p:spPr>
        <p:txBody>
          <a:bodyPr vert="horz" lIns="91440" tIns="45720" rIns="91440" bIns="45720" numCol="1" rtlCol="0" anchor="t">
            <a:noAutofit/>
          </a:bodyPr>
          <a:lstStyle>
            <a:lvl1pPr>
              <a:defRPr b="0" i="0" cap="all" baseline="0">
                <a:latin typeface="+mj-lt"/>
              </a:defRPr>
            </a:lvl1pPr>
          </a:lstStyle>
          <a:p>
            <a:r>
              <a:rPr lang="de-DE"/>
              <a:t>Edit Headlin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8B7670D-AF69-40FC-A2E0-5876ED08615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34963" y="1274400"/>
            <a:ext cx="5400000" cy="5198400"/>
          </a:xfrm>
        </p:spPr>
        <p:txBody>
          <a:bodyPr numCol="1"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Add table or diagram by clicking on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9895BA7-F4BE-3840-9618-4ED7FF8738E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numCol="1"/>
          <a:lstStyle/>
          <a:p>
            <a:r>
              <a:rPr lang="de-DE"/>
              <a:t>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57297C7-8091-EB40-8B75-4F38366EDF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D693422-AFD1-419B-8899-9A852EC7FD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y 2022  | KCD KMA KMNL |  Monthly Country Update Cal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70610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4: Überschrif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3B866A09-6D9C-7440-87FB-A8856BDEA3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324000"/>
            <a:ext cx="11522075" cy="9432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b="0" i="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Edit Headline [</a:t>
            </a:r>
            <a:r>
              <a:rPr lang="de-DE" err="1"/>
              <a:t>Textbox</a:t>
            </a:r>
            <a:r>
              <a:rPr lang="de-DE"/>
              <a:t> Split </a:t>
            </a:r>
            <a:r>
              <a:rPr lang="de-DE" err="1"/>
              <a:t>into</a:t>
            </a:r>
            <a:r>
              <a:rPr lang="de-DE"/>
              <a:t> 2 Colums / Spalten]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862BA42-4425-0143-81C1-89FE7A5AFE6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0326" y="1267200"/>
            <a:ext cx="11522075" cy="5198400"/>
          </a:xfrm>
          <a:prstGeom prst="rect">
            <a:avLst/>
          </a:prstGeom>
        </p:spPr>
        <p:txBody>
          <a:bodyPr numCol="2" spcCol="720000"/>
          <a:lstStyle>
            <a:lvl1pPr>
              <a:defRPr b="0" i="0">
                <a:latin typeface="+mn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/>
              <a:t>Add </a:t>
            </a:r>
            <a:r>
              <a:rPr lang="de-DE" err="1"/>
              <a:t>tabl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diagram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B33C7F-6354-3C46-AA4F-2768474DF8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2453993-8942-4737-BF74-37FD3F59A9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y 2022  | KCD KMA KMNL |  Monthly Country Update Cal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64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out columns /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2D2525-3CDC-40EF-BC20-3569C1F157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Headline [</a:t>
            </a:r>
            <a:r>
              <a:rPr lang="de-DE" err="1"/>
              <a:t>Textbox</a:t>
            </a:r>
            <a:r>
              <a:rPr lang="de-DE"/>
              <a:t> </a:t>
            </a:r>
            <a:r>
              <a:rPr lang="de-DE" err="1"/>
              <a:t>without</a:t>
            </a:r>
            <a:r>
              <a:rPr lang="de-DE"/>
              <a:t> Colums / Spalten]</a:t>
            </a:r>
            <a:endParaRPr lang="en-US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226485E-A639-476C-BE48-6480181EDA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BDF0F71-6464-4306-9A5B-5CC6CF51A78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0326" y="1267200"/>
            <a:ext cx="11522075" cy="5198400"/>
          </a:xfrm>
          <a:prstGeom prst="rect">
            <a:avLst/>
          </a:prstGeom>
        </p:spPr>
        <p:txBody>
          <a:bodyPr numCol="1" spcCol="720000"/>
          <a:lstStyle>
            <a:lvl1pPr>
              <a:defRPr b="0" i="0">
                <a:latin typeface="+mn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/>
              <a:t>Add </a:t>
            </a:r>
            <a:r>
              <a:rPr lang="de-DE" err="1"/>
              <a:t>tabl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diagram</a:t>
            </a:r>
            <a:r>
              <a:rPr lang="de-DE"/>
              <a:t> by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4BC57C0-6357-4E5B-BC6B-DE18278050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y 2022  | KCD KMA KMNL |  Monthly Country Update Cal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73212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9">
            <a:extLst>
              <a:ext uri="{FF2B5EF4-FFF2-40B4-BE49-F238E27FC236}">
                <a16:creationId xmlns:a16="http://schemas.microsoft.com/office/drawing/2014/main" id="{D954AC73-D12F-4873-A18B-190C7B2DAD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numCol="1"/>
          <a:lstStyle/>
          <a:p>
            <a:r>
              <a:rPr lang="de-DE"/>
              <a:t>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8F4EA29C-884A-4938-88E0-D262FBA1BA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800" y="6315138"/>
            <a:ext cx="1706787" cy="307975"/>
          </a:xfrm>
          <a:prstGeom prst="rect">
            <a:avLst/>
          </a:prstGeom>
        </p:spPr>
        <p:txBody>
          <a:bodyPr lIns="97200" numCol="1"/>
          <a:lstStyle>
            <a:lvl1pPr marL="0" indent="0">
              <a:buNone/>
              <a:defRPr sz="1200" b="0" i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/>
            </a:lvl2pPr>
            <a:lvl3pPr marL="914400" indent="0">
              <a:buFont typeface="Arial" panose="020B0604020202020204" pitchFamily="34" charset="0"/>
              <a:buNone/>
              <a:defRPr sz="1400"/>
            </a:lvl3pPr>
            <a:lvl4pPr marL="1371600" indent="0">
              <a:buFont typeface="Arial" panose="020B0604020202020204" pitchFamily="34" charset="0"/>
              <a:buNone/>
              <a:defRPr sz="1400"/>
            </a:lvl4pPr>
            <a:lvl5pPr marL="182880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err="1"/>
              <a:t>Month</a:t>
            </a:r>
            <a:r>
              <a:rPr lang="de-DE"/>
              <a:t> 2020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B566BB62-605C-4DAA-A75D-20CB802CE5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799" y="4381200"/>
            <a:ext cx="5400000" cy="1560830"/>
          </a:xfrm>
          <a:prstGeom prst="rect">
            <a:avLst/>
          </a:prstGeom>
        </p:spPr>
        <p:txBody>
          <a:bodyPr lIns="86400" numCol="1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 baseline="0">
                <a:solidFill>
                  <a:schemeClr val="tx1"/>
                </a:solidFill>
                <a:latin typeface="Kl Bliss Regular" panose="02010006030000020004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irst </a:t>
            </a:r>
            <a:r>
              <a:rPr lang="de-DE" err="1"/>
              <a:t>name</a:t>
            </a:r>
            <a:r>
              <a:rPr lang="de-DE"/>
              <a:t> last </a:t>
            </a:r>
            <a:r>
              <a:rPr lang="de-DE" err="1"/>
              <a:t>name</a:t>
            </a:r>
            <a:r>
              <a:rPr lang="de-DE"/>
              <a:t>,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First </a:t>
            </a:r>
            <a:r>
              <a:rPr lang="de-DE" err="1"/>
              <a:t>name</a:t>
            </a:r>
            <a:r>
              <a:rPr lang="de-DE"/>
              <a:t> last </a:t>
            </a:r>
            <a:r>
              <a:rPr lang="de-DE" err="1"/>
              <a:t>name</a:t>
            </a:r>
            <a:r>
              <a:rPr lang="de-DE"/>
              <a:t>,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First </a:t>
            </a:r>
            <a:r>
              <a:rPr lang="de-DE" err="1"/>
              <a:t>name</a:t>
            </a:r>
            <a:r>
              <a:rPr lang="de-DE"/>
              <a:t> last </a:t>
            </a:r>
            <a:r>
              <a:rPr lang="de-DE" err="1"/>
              <a:t>name</a:t>
            </a:r>
            <a:r>
              <a:rPr lang="de-DE"/>
              <a:t>, title</a:t>
            </a:r>
          </a:p>
        </p:txBody>
      </p:sp>
      <p:pic>
        <p:nvPicPr>
          <p:cNvPr id="8" name="Grafik 10">
            <a:extLst>
              <a:ext uri="{FF2B5EF4-FFF2-40B4-BE49-F238E27FC236}">
                <a16:creationId xmlns:a16="http://schemas.microsoft.com/office/drawing/2014/main" id="{3BBB917F-BC28-B840-8EA0-2F2F95D01E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93" r="-2693"/>
          <a:stretch/>
        </p:blipFill>
        <p:spPr>
          <a:xfrm>
            <a:off x="334800" y="276501"/>
            <a:ext cx="1470462" cy="756000"/>
          </a:xfrm>
          <a:prstGeom prst="rect">
            <a:avLst/>
          </a:prstGeom>
        </p:spPr>
      </p:pic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62D80385-A65E-8F42-B07C-772FF2A968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2" y="3754800"/>
            <a:ext cx="5400675" cy="619200"/>
          </a:xfrm>
          <a:prstGeom prst="rect">
            <a:avLst/>
          </a:prstGeom>
        </p:spPr>
        <p:txBody>
          <a:bodyPr numCol="1"/>
          <a:lstStyle>
            <a:lvl1pPr marL="0" indent="0">
              <a:buNone/>
              <a:defRPr sz="2000" b="1">
                <a:latin typeface="+mn-lt"/>
              </a:defRPr>
            </a:lvl1pPr>
          </a:lstStyle>
          <a:p>
            <a:r>
              <a:rPr lang="de-DE" sz="1800">
                <a:solidFill>
                  <a:schemeClr val="tx1"/>
                </a:solidFill>
              </a:rPr>
              <a:t>Edit </a:t>
            </a:r>
            <a:r>
              <a:rPr lang="de-DE" sz="1800" err="1">
                <a:solidFill>
                  <a:schemeClr val="tx1"/>
                </a:solidFill>
              </a:rPr>
              <a:t>subtitle</a:t>
            </a:r>
            <a:endParaRPr lang="de-DE" sz="1800">
              <a:solidFill>
                <a:schemeClr val="tx1"/>
              </a:solidFill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0FD939CE-4B83-EB43-9D77-6D64F5155A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1274400"/>
            <a:ext cx="5400675" cy="2473200"/>
          </a:xfrm>
        </p:spPr>
        <p:txBody>
          <a:bodyPr lIns="54000" numCol="1" anchor="b">
            <a:noAutofit/>
          </a:bodyPr>
          <a:lstStyle>
            <a:lvl1pPr algn="l">
              <a:lnSpc>
                <a:spcPct val="90000"/>
              </a:lnSpc>
              <a:defRPr sz="5000" b="0" i="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Edit Headline</a:t>
            </a:r>
          </a:p>
        </p:txBody>
      </p:sp>
    </p:spTree>
    <p:extLst>
      <p:ext uri="{BB962C8B-B14F-4D97-AF65-F5344CB8AC3E}">
        <p14:creationId xmlns:p14="http://schemas.microsoft.com/office/powerpoint/2010/main" val="3100470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: Überschrift + 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7CF9C87E-E0C7-B442-AF76-714EBDA383A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7793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Kl Bliss Regular" panose="02010006030000020004" pitchFamily="50" charset="0"/>
              </a:defRPr>
            </a:lvl1pPr>
          </a:lstStyle>
          <a:p>
            <a:r>
              <a:rPr lang="de-DE"/>
              <a:t>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774A0B25-BD87-944D-92DC-C9CDCB8134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362310"/>
            <a:ext cx="5582758" cy="5963256"/>
          </a:xfrm>
          <a:prstGeom prst="rect">
            <a:avLst/>
          </a:prstGeom>
          <a:effectLst>
            <a:outerShdw blurRad="457200" sx="102000" sy="102000" algn="ctr" rotWithShape="0">
              <a:schemeClr val="accent3">
                <a:alpha val="40000"/>
              </a:schemeClr>
            </a:outerShdw>
          </a:effectLst>
        </p:spPr>
        <p:txBody>
          <a:bodyPr vert="horz" lIns="54000" tIns="45720" rIns="91440" bIns="45720" numCol="1" rtlCol="0" anchor="ctr">
            <a:noAutofit/>
          </a:bodyPr>
          <a:lstStyle>
            <a:lvl1pPr>
              <a:defRPr sz="5400" b="0" i="0" cap="all" baseline="0">
                <a:solidFill>
                  <a:schemeClr val="bg1"/>
                </a:solidFill>
                <a:latin typeface="Kl Bliss Regular" panose="02010006030000020004" pitchFamily="50" charset="0"/>
              </a:defRPr>
            </a:lvl1pPr>
          </a:lstStyle>
          <a:p>
            <a:r>
              <a:rPr lang="de-DE"/>
              <a:t>Edit Headline</a:t>
            </a:r>
          </a:p>
        </p:txBody>
      </p:sp>
    </p:spTree>
    <p:extLst>
      <p:ext uri="{BB962C8B-B14F-4D97-AF65-F5344CB8AC3E}">
        <p14:creationId xmlns:p14="http://schemas.microsoft.com/office/powerpoint/2010/main" val="4277265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: contact + Financial Cale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D22CA260-B0FC-B241-9D23-A890432CB3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4718" y="3500823"/>
            <a:ext cx="197047" cy="197047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16D6F927-4A13-0141-A560-47622A98DC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4497" y="3919840"/>
            <a:ext cx="207156" cy="155367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CDBCC17-746C-C04C-B5B2-7E1FAB2CFA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9526" y="4280921"/>
            <a:ext cx="235152" cy="235152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9469F2A-E2C6-2A47-9BE2-D63D118DED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2" y="1978505"/>
            <a:ext cx="5400675" cy="736767"/>
          </a:xfrm>
        </p:spPr>
        <p:txBody>
          <a:bodyPr numCol="1" anchor="b"/>
          <a:lstStyle>
            <a:lvl1pPr marL="0" indent="0">
              <a:buNone/>
              <a:defRPr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de-DE"/>
              <a:t>First Name Last Name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8F06AA4E-B3E4-A64B-A3BA-7E0BD333D2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2" y="2721600"/>
            <a:ext cx="5400675" cy="670484"/>
          </a:xfrm>
        </p:spPr>
        <p:txBody>
          <a:bodyPr numCol="1" anchor="t"/>
          <a:lstStyle>
            <a:lvl1pPr marL="0" indent="0">
              <a:buNone/>
              <a:defRPr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CDAF6BF5-104B-A843-9618-3C0DA12D30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3398400"/>
            <a:ext cx="5076825" cy="393468"/>
          </a:xfrm>
        </p:spPr>
        <p:txBody>
          <a:bodyPr lIns="108000" numCol="1" anchor="t"/>
          <a:lstStyle>
            <a:lvl1pPr marL="0" indent="0">
              <a:buNone/>
              <a:defRPr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+00 000 000 0000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3D2A1C3F-1039-1D46-9750-9BA2437A8A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3" y="3798000"/>
            <a:ext cx="5076825" cy="393468"/>
          </a:xfrm>
        </p:spPr>
        <p:txBody>
          <a:bodyPr lIns="108000" numCol="1" anchor="t"/>
          <a:lstStyle>
            <a:lvl1pPr marL="0" indent="0" algn="l">
              <a:buNone/>
              <a:defRPr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firstname.lastname@kloeckner.com</a:t>
            </a:r>
            <a:endParaRPr lang="de-DE"/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8BEF2B38-B653-844A-B922-F943EDC814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8813" y="4197600"/>
            <a:ext cx="5076825" cy="393468"/>
          </a:xfrm>
        </p:spPr>
        <p:txBody>
          <a:bodyPr lIns="108000" numCol="1" anchor="t"/>
          <a:lstStyle>
            <a:lvl1pPr marL="0" indent="0" algn="l">
              <a:buNone/>
              <a:defRPr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www.kloeckner.com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F4930995-005E-9045-9273-C985A0DCB5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56363" y="1800000"/>
            <a:ext cx="5400676" cy="4320000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/>
              <a:t>00 </a:t>
            </a:r>
            <a:r>
              <a:rPr lang="de-DE" err="1"/>
              <a:t>Month</a:t>
            </a:r>
            <a:r>
              <a:rPr lang="de-DE"/>
              <a:t> 0000</a:t>
            </a:r>
            <a:br>
              <a:rPr lang="de-DE"/>
            </a:br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event</a:t>
            </a:r>
            <a:r>
              <a:rPr lang="de-DE"/>
              <a:t> / et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de-D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/>
              <a:t>00 </a:t>
            </a:r>
            <a:r>
              <a:rPr lang="de-DE" err="1"/>
              <a:t>Month</a:t>
            </a:r>
            <a:r>
              <a:rPr lang="de-DE"/>
              <a:t> 0000</a:t>
            </a:r>
            <a:br>
              <a:rPr lang="de-DE"/>
            </a:br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event</a:t>
            </a:r>
            <a:r>
              <a:rPr lang="de-DE"/>
              <a:t> / et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de-D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/>
              <a:t>00 </a:t>
            </a:r>
            <a:r>
              <a:rPr lang="de-DE" err="1"/>
              <a:t>Month</a:t>
            </a:r>
            <a:r>
              <a:rPr lang="de-DE"/>
              <a:t> 0000</a:t>
            </a:r>
            <a:br>
              <a:rPr lang="de-DE"/>
            </a:br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event</a:t>
            </a:r>
            <a:r>
              <a:rPr lang="de-DE"/>
              <a:t> / et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de-D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/>
              <a:t>00 </a:t>
            </a:r>
            <a:r>
              <a:rPr lang="de-DE" err="1"/>
              <a:t>Month</a:t>
            </a:r>
            <a:r>
              <a:rPr lang="de-DE"/>
              <a:t> 0000</a:t>
            </a:r>
            <a:br>
              <a:rPr lang="de-DE"/>
            </a:br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event</a:t>
            </a:r>
            <a:r>
              <a:rPr lang="de-DE"/>
              <a:t> / et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de-DE"/>
          </a:p>
        </p:txBody>
      </p:sp>
      <p:sp>
        <p:nvSpPr>
          <p:cNvPr id="23" name="Titelplatzhalter 1">
            <a:extLst>
              <a:ext uri="{FF2B5EF4-FFF2-40B4-BE49-F238E27FC236}">
                <a16:creationId xmlns:a16="http://schemas.microsoft.com/office/drawing/2014/main" id="{69986FE6-305A-764B-B985-67E64C1B79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362" y="1270800"/>
            <a:ext cx="5400675" cy="522000"/>
          </a:xfrm>
          <a:prstGeom prst="rect">
            <a:avLst/>
          </a:prstGeom>
        </p:spPr>
        <p:txBody>
          <a:bodyPr vert="horz" lIns="91440" tIns="45720" rIns="91440" bIns="45720" numCol="1" rtlCol="0" anchor="ctr">
            <a:noAutofit/>
          </a:bodyPr>
          <a:lstStyle>
            <a:lvl1pPr>
              <a:defRPr sz="1800" b="0" i="0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Financial </a:t>
            </a:r>
            <a:r>
              <a:rPr lang="de-DE" err="1"/>
              <a:t>Calendar</a:t>
            </a:r>
            <a:endParaRPr lang="de-DE"/>
          </a:p>
        </p:txBody>
      </p:sp>
      <p:pic>
        <p:nvPicPr>
          <p:cNvPr id="24" name="Grafik 10">
            <a:extLst>
              <a:ext uri="{FF2B5EF4-FFF2-40B4-BE49-F238E27FC236}">
                <a16:creationId xmlns:a16="http://schemas.microsoft.com/office/drawing/2014/main" id="{8D26FECE-1951-8B4F-A4F6-D559608C7F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2693" r="-2693"/>
          <a:stretch/>
        </p:blipFill>
        <p:spPr>
          <a:xfrm>
            <a:off x="334800" y="276501"/>
            <a:ext cx="1470462" cy="756000"/>
          </a:xfrm>
          <a:prstGeom prst="rect">
            <a:avLst/>
          </a:prstGeom>
        </p:spPr>
      </p:pic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5E5FE80-42B3-304B-A95D-4A59C0F7B5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B9899677-680B-4C13-99E5-B47CB5F24B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y 2022  | KCD KMA KMNL |  Monthly Country Update Cal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64171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694800" y="648000"/>
            <a:ext cx="10980000" cy="540000"/>
          </a:xfrm>
        </p:spPr>
        <p:txBody>
          <a:bodyPr lIns="0" tIns="90000" rIns="90000" bIns="90000" anchor="t" anchorCtr="0">
            <a:normAutofit/>
          </a:bodyPr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de-DE"/>
              <a:t>Agenda title</a:t>
            </a:r>
          </a:p>
        </p:txBody>
      </p:sp>
      <p:sp>
        <p:nvSpPr>
          <p:cNvPr id="6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  <a:prstGeom prst="rect">
            <a:avLst/>
          </a:prstGeom>
        </p:spPr>
        <p:txBody>
          <a:bodyPr/>
          <a:lstStyle/>
          <a:p>
            <a:fld id="{C14EB585-F68D-40F7-B9F5-62C18B789D14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Inhaltsplatzhalter"/>
          <p:cNvSpPr>
            <a:spLocks noGrp="1"/>
          </p:cNvSpPr>
          <p:nvPr>
            <p:ph sz="quarter" idx="13" hasCustomPrompt="1"/>
          </p:nvPr>
        </p:nvSpPr>
        <p:spPr>
          <a:xfrm>
            <a:off x="694800" y="1476000"/>
            <a:ext cx="10980000" cy="4500000"/>
          </a:xfr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</p:txBody>
      </p:sp>
    </p:spTree>
    <p:extLst>
      <p:ext uri="{BB962C8B-B14F-4D97-AF65-F5344CB8AC3E}">
        <p14:creationId xmlns:p14="http://schemas.microsoft.com/office/powerpoint/2010/main" val="7698413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EE12F9F-CFE5-47D5-9610-A3C349B61E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074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EE12F9F-CFE5-47D5-9610-A3C349B61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C1A3031-BFCF-4F79-9582-41F3C48657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5000" b="0" i="0" baseline="0" dirty="0">
              <a:latin typeface="Kl Bliss Regular" panose="02010006030000020004" pitchFamily="50" charset="0"/>
              <a:ea typeface="+mj-ea"/>
              <a:cs typeface="+mj-cs"/>
              <a:sym typeface="Kl Bliss Regular" panose="02010006030000020004" pitchFamily="50" charset="0"/>
            </a:endParaRPr>
          </a:p>
        </p:txBody>
      </p:sp>
      <p:sp>
        <p:nvSpPr>
          <p:cNvPr id="7" name="Bildplatzhalter 9">
            <a:extLst>
              <a:ext uri="{FF2B5EF4-FFF2-40B4-BE49-F238E27FC236}">
                <a16:creationId xmlns:a16="http://schemas.microsoft.com/office/drawing/2014/main" id="{D954AC73-D12F-4873-A18B-190C7B2DAD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numCol="1"/>
          <a:lstStyle/>
          <a:p>
            <a:r>
              <a:rPr lang="de-DE" dirty="0"/>
              <a:t>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on </a:t>
            </a:r>
            <a:r>
              <a:rPr lang="de-DE" dirty="0" err="1"/>
              <a:t>icon</a:t>
            </a:r>
            <a:endParaRPr lang="de-DE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E818BA9C-42A6-4671-80BE-766EB47ABF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800" y="3754800"/>
            <a:ext cx="5400000" cy="1956926"/>
          </a:xfrm>
          <a:prstGeom prst="rect">
            <a:avLst/>
          </a:prstGeom>
        </p:spPr>
        <p:txBody>
          <a:bodyPr lIns="86400" numCol="1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First </a:t>
            </a:r>
            <a:r>
              <a:rPr lang="de-DE" dirty="0" err="1"/>
              <a:t>name</a:t>
            </a:r>
            <a:r>
              <a:rPr lang="de-DE" dirty="0"/>
              <a:t> last </a:t>
            </a:r>
            <a:r>
              <a:rPr lang="de-DE" dirty="0" err="1"/>
              <a:t>name</a:t>
            </a:r>
            <a:r>
              <a:rPr lang="de-DE" dirty="0"/>
              <a:t>,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First </a:t>
            </a:r>
            <a:r>
              <a:rPr lang="de-DE" dirty="0" err="1"/>
              <a:t>name</a:t>
            </a:r>
            <a:r>
              <a:rPr lang="de-DE" dirty="0"/>
              <a:t> last </a:t>
            </a:r>
            <a:r>
              <a:rPr lang="de-DE" dirty="0" err="1"/>
              <a:t>name</a:t>
            </a:r>
            <a:r>
              <a:rPr lang="de-DE" dirty="0"/>
              <a:t>,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First </a:t>
            </a:r>
            <a:r>
              <a:rPr lang="de-DE" dirty="0" err="1"/>
              <a:t>name</a:t>
            </a:r>
            <a:r>
              <a:rPr lang="de-DE" dirty="0"/>
              <a:t> last </a:t>
            </a:r>
            <a:r>
              <a:rPr lang="de-DE" dirty="0" err="1"/>
              <a:t>name</a:t>
            </a:r>
            <a:r>
              <a:rPr lang="de-DE" dirty="0"/>
              <a:t>, title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855FB186-40EE-E249-92F0-394617EB0B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800" y="6315138"/>
            <a:ext cx="1706787" cy="307975"/>
          </a:xfrm>
          <a:prstGeom prst="rect">
            <a:avLst/>
          </a:prstGeom>
        </p:spPr>
        <p:txBody>
          <a:bodyPr lIns="97200" numCol="1"/>
          <a:lstStyle>
            <a:lvl1pPr marL="0" indent="0">
              <a:buNone/>
              <a:defRPr sz="1200" b="0" i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/>
            </a:lvl2pPr>
            <a:lvl3pPr marL="914400" indent="0">
              <a:buFont typeface="Arial" panose="020B0604020202020204" pitchFamily="34" charset="0"/>
              <a:buNone/>
              <a:defRPr sz="1400"/>
            </a:lvl3pPr>
            <a:lvl4pPr marL="1371600" indent="0">
              <a:buFont typeface="Arial" panose="020B0604020202020204" pitchFamily="34" charset="0"/>
              <a:buNone/>
              <a:defRPr sz="1400"/>
            </a:lvl4pPr>
            <a:lvl5pPr marL="182880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 err="1"/>
              <a:t>Month</a:t>
            </a:r>
            <a:r>
              <a:rPr lang="de-DE" dirty="0"/>
              <a:t> 2022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140BD37-5E55-488C-962D-3D3E06CC22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1274400"/>
            <a:ext cx="5400675" cy="2473200"/>
          </a:xfrm>
        </p:spPr>
        <p:txBody>
          <a:bodyPr lIns="54000" numCol="1" anchor="b">
            <a:noAutofit/>
          </a:bodyPr>
          <a:lstStyle>
            <a:lvl1pPr algn="l">
              <a:lnSpc>
                <a:spcPct val="90000"/>
              </a:lnSpc>
              <a:defRPr sz="5000" b="0" i="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Edit Headlin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3F2427F-575D-85D7-C435-B791E7B44E1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8239" y="430569"/>
            <a:ext cx="3832991" cy="447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4354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09CDC26-B299-4B96-82CF-CDFD3CFEC6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7792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09CDC26-B299-4B96-82CF-CDFD3CFEC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54803A8-A15B-41EA-93F7-186E778F1A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5000" b="0" i="0" baseline="0" dirty="0">
              <a:latin typeface="Kl Bliss Regular" panose="02010006030000020004" pitchFamily="50" charset="0"/>
              <a:ea typeface="+mj-ea"/>
              <a:cs typeface="+mj-cs"/>
              <a:sym typeface="Kl Bliss Regular" panose="02010006030000020004" pitchFamily="50" charset="0"/>
            </a:endParaRPr>
          </a:p>
        </p:txBody>
      </p:sp>
      <p:sp>
        <p:nvSpPr>
          <p:cNvPr id="7" name="Bildplatzhalter 9">
            <a:extLst>
              <a:ext uri="{FF2B5EF4-FFF2-40B4-BE49-F238E27FC236}">
                <a16:creationId xmlns:a16="http://schemas.microsoft.com/office/drawing/2014/main" id="{D954AC73-D12F-4873-A18B-190C7B2DAD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numCol="1"/>
          <a:lstStyle/>
          <a:p>
            <a:r>
              <a:rPr lang="de-DE" dirty="0"/>
              <a:t>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on </a:t>
            </a:r>
            <a:r>
              <a:rPr lang="de-DE" dirty="0" err="1"/>
              <a:t>icon</a:t>
            </a:r>
            <a:endParaRPr lang="de-DE" dirty="0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8F4EA29C-884A-4938-88E0-D262FBA1BA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800" y="6315138"/>
            <a:ext cx="1706787" cy="307975"/>
          </a:xfrm>
          <a:prstGeom prst="rect">
            <a:avLst/>
          </a:prstGeom>
        </p:spPr>
        <p:txBody>
          <a:bodyPr lIns="97200" numCol="1"/>
          <a:lstStyle>
            <a:lvl1pPr marL="0" indent="0">
              <a:buNone/>
              <a:defRPr sz="1200" b="0" i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/>
            </a:lvl2pPr>
            <a:lvl3pPr marL="914400" indent="0">
              <a:buFont typeface="Arial" panose="020B0604020202020204" pitchFamily="34" charset="0"/>
              <a:buNone/>
              <a:defRPr sz="1400"/>
            </a:lvl3pPr>
            <a:lvl4pPr marL="1371600" indent="0">
              <a:buFont typeface="Arial" panose="020B0604020202020204" pitchFamily="34" charset="0"/>
              <a:buNone/>
              <a:defRPr sz="1400"/>
            </a:lvl4pPr>
            <a:lvl5pPr marL="182880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 err="1"/>
              <a:t>Month</a:t>
            </a:r>
            <a:r>
              <a:rPr lang="de-DE" dirty="0"/>
              <a:t> 2022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B566BB62-605C-4DAA-A75D-20CB802CE5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799" y="4381200"/>
            <a:ext cx="5400000" cy="1560830"/>
          </a:xfrm>
          <a:prstGeom prst="rect">
            <a:avLst/>
          </a:prstGeom>
        </p:spPr>
        <p:txBody>
          <a:bodyPr lIns="86400" numCol="1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 baseline="0">
                <a:solidFill>
                  <a:schemeClr val="tx1"/>
                </a:solidFill>
                <a:latin typeface="Kl Bliss Regular" panose="02010006030000020004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First </a:t>
            </a:r>
            <a:r>
              <a:rPr lang="de-DE" dirty="0" err="1"/>
              <a:t>name</a:t>
            </a:r>
            <a:r>
              <a:rPr lang="de-DE" dirty="0"/>
              <a:t> last </a:t>
            </a:r>
            <a:r>
              <a:rPr lang="de-DE" dirty="0" err="1"/>
              <a:t>name</a:t>
            </a:r>
            <a:r>
              <a:rPr lang="de-DE" dirty="0"/>
              <a:t>,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First </a:t>
            </a:r>
            <a:r>
              <a:rPr lang="de-DE" dirty="0" err="1"/>
              <a:t>name</a:t>
            </a:r>
            <a:r>
              <a:rPr lang="de-DE" dirty="0"/>
              <a:t> last </a:t>
            </a:r>
            <a:r>
              <a:rPr lang="de-DE" dirty="0" err="1"/>
              <a:t>name</a:t>
            </a:r>
            <a:r>
              <a:rPr lang="de-DE" dirty="0"/>
              <a:t>,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First </a:t>
            </a:r>
            <a:r>
              <a:rPr lang="de-DE" dirty="0" err="1"/>
              <a:t>name</a:t>
            </a:r>
            <a:r>
              <a:rPr lang="de-DE" dirty="0"/>
              <a:t> last </a:t>
            </a:r>
            <a:r>
              <a:rPr lang="de-DE" dirty="0" err="1"/>
              <a:t>name</a:t>
            </a:r>
            <a:r>
              <a:rPr lang="de-DE" dirty="0"/>
              <a:t>, title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62D80385-A65E-8F42-B07C-772FF2A968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2" y="3754800"/>
            <a:ext cx="5400675" cy="619200"/>
          </a:xfrm>
          <a:prstGeom prst="rect">
            <a:avLst/>
          </a:prstGeom>
        </p:spPr>
        <p:txBody>
          <a:bodyPr numCol="1"/>
          <a:lstStyle>
            <a:lvl1pPr marL="0" indent="0">
              <a:buNone/>
              <a:defRPr sz="2000" b="1">
                <a:latin typeface="+mn-lt"/>
              </a:defRPr>
            </a:lvl1pPr>
          </a:lstStyle>
          <a:p>
            <a:r>
              <a:rPr lang="de-DE" sz="1800" dirty="0">
                <a:solidFill>
                  <a:schemeClr val="tx1"/>
                </a:solidFill>
              </a:rPr>
              <a:t>Edit </a:t>
            </a:r>
            <a:r>
              <a:rPr lang="de-DE" sz="1800" dirty="0" err="1">
                <a:solidFill>
                  <a:schemeClr val="tx1"/>
                </a:solidFill>
              </a:rPr>
              <a:t>subtitle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0FD939CE-4B83-EB43-9D77-6D64F5155A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1265774"/>
            <a:ext cx="5400675" cy="2473200"/>
          </a:xfrm>
        </p:spPr>
        <p:txBody>
          <a:bodyPr lIns="54000" numCol="1" anchor="b">
            <a:noAutofit/>
          </a:bodyPr>
          <a:lstStyle>
            <a:lvl1pPr algn="l">
              <a:lnSpc>
                <a:spcPct val="90000"/>
              </a:lnSpc>
              <a:defRPr sz="5000" b="0" i="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Edit Headlin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17815E8-0BEA-AAA1-5C97-E74E0DA4A5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8239" y="430569"/>
            <a:ext cx="3832991" cy="447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6080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: Titel + Na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5D0DB4A4-3A2A-F84D-8EF2-B7F6875D7DD3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0" i="0" dirty="0">
              <a:latin typeface="+mn-lt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3ECCE65-A630-FE43-8BBF-EF7EB9BE651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56363" y="1268413"/>
            <a:ext cx="5400675" cy="4183199"/>
          </a:xfrm>
          <a:prstGeom prst="rect">
            <a:avLst/>
          </a:prstGeom>
          <a:ln>
            <a:noFill/>
          </a:ln>
        </p:spPr>
        <p:txBody>
          <a:bodyPr numCol="1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First </a:t>
            </a:r>
            <a:r>
              <a:rPr lang="de-DE" dirty="0" err="1"/>
              <a:t>name</a:t>
            </a:r>
            <a:r>
              <a:rPr lang="de-DE" dirty="0"/>
              <a:t> last </a:t>
            </a:r>
            <a:r>
              <a:rPr lang="de-DE" dirty="0" err="1"/>
              <a:t>name</a:t>
            </a:r>
            <a:r>
              <a:rPr lang="de-DE" dirty="0"/>
              <a:t>,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First </a:t>
            </a:r>
            <a:r>
              <a:rPr lang="de-DE" dirty="0" err="1"/>
              <a:t>name</a:t>
            </a:r>
            <a:r>
              <a:rPr lang="de-DE" dirty="0"/>
              <a:t> last </a:t>
            </a:r>
            <a:r>
              <a:rPr lang="de-DE" dirty="0" err="1"/>
              <a:t>name</a:t>
            </a:r>
            <a:r>
              <a:rPr lang="de-DE" dirty="0"/>
              <a:t>,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First </a:t>
            </a:r>
            <a:r>
              <a:rPr lang="de-DE" dirty="0" err="1"/>
              <a:t>name</a:t>
            </a:r>
            <a:r>
              <a:rPr lang="de-DE" dirty="0"/>
              <a:t> last </a:t>
            </a:r>
            <a:r>
              <a:rPr lang="de-DE" dirty="0" err="1"/>
              <a:t>name</a:t>
            </a:r>
            <a:r>
              <a:rPr lang="de-DE" dirty="0"/>
              <a:t>, title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241B889A-3CF4-C14B-A728-BD08FBCF88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800" y="6315138"/>
            <a:ext cx="1706787" cy="307975"/>
          </a:xfrm>
          <a:prstGeom prst="rect">
            <a:avLst/>
          </a:prstGeom>
        </p:spPr>
        <p:txBody>
          <a:bodyPr lIns="97200" numCol="1"/>
          <a:lstStyle>
            <a:lvl1pPr marL="0" indent="0">
              <a:buNone/>
              <a:defRPr sz="1200" b="0" i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/>
            </a:lvl2pPr>
            <a:lvl3pPr marL="914400" indent="0">
              <a:buFont typeface="Arial" panose="020B0604020202020204" pitchFamily="34" charset="0"/>
              <a:buNone/>
              <a:defRPr sz="1400"/>
            </a:lvl3pPr>
            <a:lvl4pPr marL="1371600" indent="0">
              <a:buFont typeface="Arial" panose="020B0604020202020204" pitchFamily="34" charset="0"/>
              <a:buNone/>
              <a:defRPr sz="1400"/>
            </a:lvl4pPr>
            <a:lvl5pPr marL="182880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 err="1"/>
              <a:t>Month</a:t>
            </a:r>
            <a:r>
              <a:rPr lang="de-DE" dirty="0"/>
              <a:t> 2022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7D303E87-833C-2C47-A367-8055A976ED1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1274400"/>
            <a:ext cx="5400675" cy="4168800"/>
          </a:xfrm>
        </p:spPr>
        <p:txBody>
          <a:bodyPr lIns="54000" numCol="1" anchor="ctr">
            <a:noAutofit/>
          </a:bodyPr>
          <a:lstStyle>
            <a:lvl1pPr algn="l">
              <a:lnSpc>
                <a:spcPct val="90000"/>
              </a:lnSpc>
              <a:defRPr sz="5000" b="0" i="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Edit Headlin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8089516-4265-4D10-ED8D-2B53FE15B3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8239" y="430569"/>
            <a:ext cx="3832991" cy="447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8882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: Titel + Namen + Unter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970E8B-E76F-CF43-AE6B-85C87835A1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1274400"/>
            <a:ext cx="5400675" cy="2473200"/>
          </a:xfrm>
        </p:spPr>
        <p:txBody>
          <a:bodyPr lIns="54000" numCol="1" anchor="b">
            <a:noAutofit/>
          </a:bodyPr>
          <a:lstStyle>
            <a:lvl1pPr algn="l">
              <a:lnSpc>
                <a:spcPct val="90000"/>
              </a:lnSpc>
              <a:defRPr sz="5000" b="0" i="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Edit Headli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D0DB4A4-3A2A-F84D-8EF2-B7F6875D7DD3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0" i="0" dirty="0">
              <a:latin typeface="+mn-lt"/>
            </a:endParaRP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2B0B3F6F-BBFA-EB40-811C-E64B5810D3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800" y="6315138"/>
            <a:ext cx="1706787" cy="307975"/>
          </a:xfrm>
          <a:prstGeom prst="rect">
            <a:avLst/>
          </a:prstGeom>
        </p:spPr>
        <p:txBody>
          <a:bodyPr lIns="97200" numCol="1"/>
          <a:lstStyle>
            <a:lvl1pPr marL="0" indent="0">
              <a:buNone/>
              <a:defRPr sz="1200" b="0" i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/>
            </a:lvl2pPr>
            <a:lvl3pPr marL="914400" indent="0">
              <a:buFont typeface="Arial" panose="020B0604020202020204" pitchFamily="34" charset="0"/>
              <a:buNone/>
              <a:defRPr sz="1400"/>
            </a:lvl3pPr>
            <a:lvl4pPr marL="1371600" indent="0">
              <a:buFont typeface="Arial" panose="020B0604020202020204" pitchFamily="34" charset="0"/>
              <a:buNone/>
              <a:defRPr sz="1400"/>
            </a:lvl4pPr>
            <a:lvl5pPr marL="1828800" indent="0"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 err="1"/>
              <a:t>Month</a:t>
            </a:r>
            <a:r>
              <a:rPr lang="de-DE" dirty="0"/>
              <a:t> 2022</a:t>
            </a: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0FFF4E8F-764F-EA49-9796-DE5F3621B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56363" y="1268413"/>
            <a:ext cx="5400675" cy="4183199"/>
          </a:xfrm>
          <a:prstGeom prst="rect">
            <a:avLst/>
          </a:prstGeom>
          <a:ln>
            <a:noFill/>
          </a:ln>
        </p:spPr>
        <p:txBody>
          <a:bodyPr numCol="1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i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First </a:t>
            </a:r>
            <a:r>
              <a:rPr lang="de-DE" dirty="0" err="1"/>
              <a:t>name</a:t>
            </a:r>
            <a:r>
              <a:rPr lang="de-DE" dirty="0"/>
              <a:t> last </a:t>
            </a:r>
            <a:r>
              <a:rPr lang="de-DE" dirty="0" err="1"/>
              <a:t>name</a:t>
            </a:r>
            <a:r>
              <a:rPr lang="de-DE" dirty="0"/>
              <a:t>,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First </a:t>
            </a:r>
            <a:r>
              <a:rPr lang="de-DE" dirty="0" err="1"/>
              <a:t>name</a:t>
            </a:r>
            <a:r>
              <a:rPr lang="de-DE" dirty="0"/>
              <a:t> last </a:t>
            </a:r>
            <a:r>
              <a:rPr lang="de-DE" dirty="0" err="1"/>
              <a:t>name</a:t>
            </a:r>
            <a:r>
              <a:rPr lang="de-DE" dirty="0"/>
              <a:t>,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First </a:t>
            </a:r>
            <a:r>
              <a:rPr lang="de-DE" dirty="0" err="1"/>
              <a:t>name</a:t>
            </a:r>
            <a:r>
              <a:rPr lang="de-DE" dirty="0"/>
              <a:t> last </a:t>
            </a:r>
            <a:r>
              <a:rPr lang="de-DE" dirty="0" err="1"/>
              <a:t>name</a:t>
            </a:r>
            <a:r>
              <a:rPr lang="de-DE" dirty="0"/>
              <a:t>, title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53FAA453-76D9-E147-9AF2-FAEF2A97F0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2" y="3754800"/>
            <a:ext cx="5400675" cy="619200"/>
          </a:xfrm>
          <a:prstGeom prst="rect">
            <a:avLst/>
          </a:prstGeom>
        </p:spPr>
        <p:txBody>
          <a:bodyPr numCol="1"/>
          <a:lstStyle>
            <a:lvl1pPr marL="0" indent="0">
              <a:buNone/>
              <a:defRPr sz="2000" b="1">
                <a:latin typeface="+mn-lt"/>
              </a:defRPr>
            </a:lvl1pPr>
          </a:lstStyle>
          <a:p>
            <a:r>
              <a:rPr lang="de-DE" sz="1800" dirty="0">
                <a:solidFill>
                  <a:schemeClr val="tx1"/>
                </a:solidFill>
              </a:rPr>
              <a:t>Edit </a:t>
            </a:r>
            <a:r>
              <a:rPr lang="de-DE" sz="1800" dirty="0" err="1">
                <a:solidFill>
                  <a:schemeClr val="tx1"/>
                </a:solidFill>
              </a:rPr>
              <a:t>subtitle</a:t>
            </a: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5437280-42F0-BDD2-0CA1-59E89DE77C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8239" y="430569"/>
            <a:ext cx="3832991" cy="447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5931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: Aufzählung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Untertitel 2">
            <a:extLst>
              <a:ext uri="{FF2B5EF4-FFF2-40B4-BE49-F238E27FC236}">
                <a16:creationId xmlns:a16="http://schemas.microsoft.com/office/drawing/2014/main" id="{E8D68FE5-E8F6-1848-9C05-5824B2D2C4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800" y="1274400"/>
            <a:ext cx="5390612" cy="4321175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457200" marR="0" indent="-4572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2400" b="0" i="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ne</a:t>
            </a:r>
            <a:endParaRPr lang="de-DE" dirty="0"/>
          </a:p>
          <a:p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two</a:t>
            </a:r>
            <a:endParaRPr lang="de-DE" dirty="0"/>
          </a:p>
          <a:p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three</a:t>
            </a:r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44FB36A-ED1D-9348-BD27-FB0BD8BB729C}"/>
              </a:ext>
            </a:extLst>
          </p:cNvPr>
          <p:cNvSpPr txBox="1"/>
          <p:nvPr userDrawn="1"/>
        </p:nvSpPr>
        <p:spPr>
          <a:xfrm>
            <a:off x="334963" y="282974"/>
            <a:ext cx="5410382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de-DE" sz="2400" b="0" i="0" cap="all" baseline="0" dirty="0">
                <a:solidFill>
                  <a:schemeClr val="accent1"/>
                </a:solidFill>
                <a:latin typeface="+mj-lt"/>
              </a:rPr>
              <a:t>Agenda</a:t>
            </a:r>
          </a:p>
        </p:txBody>
      </p:sp>
      <p:sp>
        <p:nvSpPr>
          <p:cNvPr id="9" name="Bildplatzhalter 9">
            <a:extLst>
              <a:ext uri="{FF2B5EF4-FFF2-40B4-BE49-F238E27FC236}">
                <a16:creationId xmlns:a16="http://schemas.microsoft.com/office/drawing/2014/main" id="{D262E312-06ED-FC4A-AAA2-2175D86BBB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numCol="1"/>
          <a:lstStyle/>
          <a:p>
            <a:r>
              <a:rPr lang="de-DE" dirty="0"/>
              <a:t>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on </a:t>
            </a:r>
            <a:r>
              <a:rPr lang="de-DE" dirty="0" err="1"/>
              <a:t>icon</a:t>
            </a:r>
            <a:endParaRPr lang="de-DE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D7FE315-A2D5-A34E-9A4D-73C876F10C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EE8152D5-55B3-2D4D-BDED-4916DCE349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onth 2022  |  </a:t>
            </a:r>
            <a:r>
              <a:rPr lang="en-GB" dirty="0" err="1"/>
              <a:t>Klöckner</a:t>
            </a:r>
            <a:r>
              <a:rPr lang="en-GB" dirty="0"/>
              <a:t> &amp; Co SE  |  Nam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2468922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: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1FC9CBD0-196D-E24A-A6D7-60242BBCF268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0" i="0" dirty="0">
              <a:latin typeface="+mn-lt"/>
            </a:endParaRP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E8D68FE5-E8F6-1848-9C05-5824B2D2C4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56363" y="1268413"/>
            <a:ext cx="5400675" cy="4183199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457200" marR="0" indent="-4572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2400" b="0" i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ne</a:t>
            </a:r>
            <a:endParaRPr lang="de-DE" dirty="0"/>
          </a:p>
          <a:p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two</a:t>
            </a:r>
            <a:endParaRPr lang="de-DE" dirty="0"/>
          </a:p>
          <a:p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three</a:t>
            </a:r>
            <a:endParaRPr lang="de-DE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E4DDE33-B5B7-7641-A326-88C348D9A1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963" y="1274400"/>
            <a:ext cx="5400675" cy="4183263"/>
          </a:xfrm>
        </p:spPr>
        <p:txBody>
          <a:bodyPr lIns="54000" numCol="1" anchor="ctr">
            <a:noAutofit/>
          </a:bodyPr>
          <a:lstStyle>
            <a:lvl1pPr algn="l">
              <a:lnSpc>
                <a:spcPct val="90000"/>
              </a:lnSpc>
              <a:defRPr sz="5000" b="0" i="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549F95B-5F97-E24B-AFBE-5E32FB3E39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80FC54E-BA97-C349-8C52-3E05580410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onth 2022  |  </a:t>
            </a:r>
            <a:r>
              <a:rPr lang="en-GB" dirty="0" err="1"/>
              <a:t>Klöckner</a:t>
            </a:r>
            <a:r>
              <a:rPr lang="en-GB" dirty="0"/>
              <a:t> &amp; Co SE  |  Nam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2401021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1: Überschrift + Text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3B866A09-6D9C-7440-87FB-A8856BDEA3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324196"/>
            <a:ext cx="11522075" cy="9432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b="0" i="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Edit Headli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862BA42-4425-0143-81C1-89FE7A5AFE6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4962" y="3599098"/>
            <a:ext cx="11522076" cy="2872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 b="0" i="0">
                <a:latin typeface="Kl Bliss Office" panose="02000506030000020004" pitchFamily="2" charset="0"/>
              </a:defRPr>
            </a:lvl5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diagram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on </a:t>
            </a:r>
            <a:r>
              <a:rPr lang="de-DE" dirty="0" err="1"/>
              <a:t>icon</a:t>
            </a:r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12FBEE-1B67-4A32-AAF4-C5CA049B2FC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963" y="1274400"/>
            <a:ext cx="11522075" cy="23184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8C4986E-61E0-DD49-8E55-92123D7091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BAC6CBF-BE57-7840-836B-7D14A57069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onth 2022  |  </a:t>
            </a:r>
            <a:r>
              <a:rPr lang="en-GB" dirty="0" err="1"/>
              <a:t>Klöckner</a:t>
            </a:r>
            <a:r>
              <a:rPr lang="en-GB" dirty="0"/>
              <a:t> &amp; Co SE  |  Nam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19795082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: Aufzählung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Untertitel 2">
            <a:extLst>
              <a:ext uri="{FF2B5EF4-FFF2-40B4-BE49-F238E27FC236}">
                <a16:creationId xmlns:a16="http://schemas.microsoft.com/office/drawing/2014/main" id="{E8D68FE5-E8F6-1848-9C05-5824B2D2C4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800" y="1274400"/>
            <a:ext cx="5390612" cy="4321175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457200" marR="0" indent="-4572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2400" b="0" i="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err="1"/>
              <a:t>Number</a:t>
            </a:r>
            <a:r>
              <a:rPr lang="de-DE"/>
              <a:t> </a:t>
            </a:r>
            <a:r>
              <a:rPr lang="de-DE" err="1"/>
              <a:t>one</a:t>
            </a:r>
            <a:endParaRPr lang="de-DE"/>
          </a:p>
          <a:p>
            <a:r>
              <a:rPr lang="de-DE" err="1"/>
              <a:t>Number</a:t>
            </a:r>
            <a:r>
              <a:rPr lang="de-DE"/>
              <a:t> </a:t>
            </a:r>
            <a:r>
              <a:rPr lang="de-DE" err="1"/>
              <a:t>two</a:t>
            </a:r>
            <a:endParaRPr lang="de-DE"/>
          </a:p>
          <a:p>
            <a:r>
              <a:rPr lang="de-DE" err="1"/>
              <a:t>Number</a:t>
            </a:r>
            <a:r>
              <a:rPr lang="de-DE"/>
              <a:t> </a:t>
            </a:r>
            <a:r>
              <a:rPr lang="de-DE" err="1"/>
              <a:t>three</a:t>
            </a:r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44FB36A-ED1D-9348-BD27-FB0BD8BB729C}"/>
              </a:ext>
            </a:extLst>
          </p:cNvPr>
          <p:cNvSpPr txBox="1"/>
          <p:nvPr userDrawn="1"/>
        </p:nvSpPr>
        <p:spPr>
          <a:xfrm>
            <a:off x="334963" y="324000"/>
            <a:ext cx="5410382" cy="4247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de-DE" sz="2400" b="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9" name="Bildplatzhalter 9">
            <a:extLst>
              <a:ext uri="{FF2B5EF4-FFF2-40B4-BE49-F238E27FC236}">
                <a16:creationId xmlns:a16="http://schemas.microsoft.com/office/drawing/2014/main" id="{D262E312-06ED-FC4A-AAA2-2175D86BBB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numCol="1"/>
          <a:lstStyle/>
          <a:p>
            <a:r>
              <a:rPr lang="de-DE"/>
              <a:t>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D7FE315-A2D5-A34E-9A4D-73C876F10C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9724293-1F3B-42B6-BCDC-2FF59CB162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rch 2022  | KCD KMA KMNL |  Monthly Country Update Cal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42854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: Überschrift + Text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F7127F81-12E5-024C-92A9-6954E0773B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324195"/>
            <a:ext cx="11522076" cy="943200"/>
          </a:xfrm>
          <a:prstGeom prst="rect">
            <a:avLst/>
          </a:prstGeom>
        </p:spPr>
        <p:txBody>
          <a:bodyPr vert="horz" lIns="91440" tIns="45720" rIns="91440" bIns="45720" numCol="1" rtlCol="0" anchor="t">
            <a:noAutofit/>
          </a:bodyPr>
          <a:lstStyle>
            <a:lvl1pPr>
              <a:defRPr b="0" i="0" cap="all" baseline="0">
                <a:latin typeface="+mj-lt"/>
              </a:defRPr>
            </a:lvl1pPr>
          </a:lstStyle>
          <a:p>
            <a:r>
              <a:rPr lang="de-DE" dirty="0"/>
              <a:t>Edit Headline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D75B7DF4-7EC4-0E49-BABB-BEB5E5C09B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2" y="1274400"/>
            <a:ext cx="5400000" cy="5198400"/>
          </a:xfrm>
          <a:prstGeom prst="rect">
            <a:avLst/>
          </a:prstGeom>
        </p:spPr>
        <p:txBody>
          <a:bodyPr vert="horz" lIns="91440" tIns="45720" rIns="91440" bIns="45720" numCol="1" spcCol="360000" rtlCol="0" anchor="t">
            <a:noAutofit/>
          </a:bodyPr>
          <a:lstStyle>
            <a:lvl1pPr marL="230400" indent="-230400">
              <a:buFont typeface="Wingdings" pitchFamily="2" charset="2"/>
              <a:buChar char="§"/>
              <a:defRPr b="0" i="0">
                <a:latin typeface="+mn-lt"/>
              </a:defRPr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diagram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on </a:t>
            </a:r>
            <a:r>
              <a:rPr lang="de-DE" dirty="0" err="1"/>
              <a:t>icon</a:t>
            </a:r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C80F21-352F-4EF5-9A57-EEC119D08E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56363" y="1274400"/>
            <a:ext cx="5400000" cy="5198400"/>
          </a:xfrm>
        </p:spPr>
        <p:txBody>
          <a:bodyPr numCol="1"/>
          <a:lstStyle>
            <a:lvl4pPr>
              <a:defRPr>
                <a:latin typeface="+mn-lt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4F7BE26-2E06-484C-BD1F-36D8CF107C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3F93432C-B656-734E-B289-3B1A3291A2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onth 2022  |  </a:t>
            </a:r>
            <a:r>
              <a:rPr lang="en-GB" dirty="0" err="1"/>
              <a:t>Klöckner</a:t>
            </a:r>
            <a:r>
              <a:rPr lang="en-GB" dirty="0"/>
              <a:t> &amp; Co SE  |  Nam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22072575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: Überschrift +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E6C5B266-9C7E-8343-BB80-EB29AA7299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800" y="324000"/>
            <a:ext cx="5400000" cy="943200"/>
          </a:xfrm>
          <a:prstGeom prst="rect">
            <a:avLst/>
          </a:prstGeom>
        </p:spPr>
        <p:txBody>
          <a:bodyPr vert="horz" lIns="91440" tIns="45720" rIns="91440" bIns="45720" numCol="1" rtlCol="0" anchor="t">
            <a:noAutofit/>
          </a:bodyPr>
          <a:lstStyle>
            <a:lvl1pPr>
              <a:defRPr b="0" i="0" cap="all" baseline="0">
                <a:latin typeface="+mj-lt"/>
              </a:defRPr>
            </a:lvl1pPr>
          </a:lstStyle>
          <a:p>
            <a:r>
              <a:rPr lang="de-DE" dirty="0"/>
              <a:t>Edit Headlin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8B7670D-AF69-40FC-A2E0-5876ED08615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34963" y="1274400"/>
            <a:ext cx="5400000" cy="5198400"/>
          </a:xfrm>
        </p:spPr>
        <p:txBody>
          <a:bodyPr numCol="1"/>
          <a:lstStyle>
            <a:lvl1pPr>
              <a:defRPr>
                <a:latin typeface="+mn-lt"/>
              </a:defRPr>
            </a:lvl1pPr>
          </a:lstStyle>
          <a:p>
            <a:r>
              <a:rPr lang="de-DE" dirty="0"/>
              <a:t>Add table or diagram by clicking on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9895BA7-F4BE-3840-9618-4ED7FF8738E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numCol="1"/>
          <a:lstStyle/>
          <a:p>
            <a:r>
              <a:rPr lang="de-DE" dirty="0"/>
              <a:t>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on </a:t>
            </a:r>
            <a:r>
              <a:rPr lang="de-DE" dirty="0" err="1"/>
              <a:t>icon</a:t>
            </a:r>
            <a:endParaRPr lang="de-DE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57297C7-8091-EB40-8B75-4F38366EDF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58CA284-BBB3-4448-AC91-7E61BFE47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onth 2022  |  </a:t>
            </a:r>
            <a:r>
              <a:rPr lang="en-GB" dirty="0" err="1"/>
              <a:t>Klöckner</a:t>
            </a:r>
            <a:r>
              <a:rPr lang="en-GB" dirty="0"/>
              <a:t> &amp; Co SE  |  Nam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42044529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4: Überschrif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3B866A09-6D9C-7440-87FB-A8856BDEA3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324000"/>
            <a:ext cx="11522075" cy="9432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b="0" i="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Edit Headli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862BA42-4425-0143-81C1-89FE7A5AFE6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4962" y="1274400"/>
            <a:ext cx="11522075" cy="5198400"/>
          </a:xfrm>
          <a:prstGeom prst="rect">
            <a:avLst/>
          </a:prstGeom>
        </p:spPr>
        <p:txBody>
          <a:bodyPr numCol="2" spcCol="720000"/>
          <a:lstStyle>
            <a:lvl1pPr>
              <a:defRPr b="0" i="0">
                <a:latin typeface="+mn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diagram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on </a:t>
            </a:r>
            <a:r>
              <a:rPr lang="de-DE" dirty="0" err="1"/>
              <a:t>icon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B33C7F-6354-3C46-AA4F-2768474DF8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878EA58-517D-E44A-924F-C48CBBCD9A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onth 2022  |  </a:t>
            </a:r>
            <a:r>
              <a:rPr lang="en-GB" dirty="0" err="1"/>
              <a:t>Klöckner</a:t>
            </a:r>
            <a:r>
              <a:rPr lang="en-GB" dirty="0"/>
              <a:t> &amp; Co SE  |  Nam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20217007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: Überschrift + 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7CF9C87E-E0C7-B442-AF76-714EBDA383A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7793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Kl Bliss Regular" panose="02010006030000020004" pitchFamily="50" charset="0"/>
              </a:defRPr>
            </a:lvl1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on </a:t>
            </a:r>
            <a:r>
              <a:rPr lang="de-DE" dirty="0" err="1"/>
              <a:t>icon</a:t>
            </a:r>
            <a:endParaRPr lang="de-DE" dirty="0"/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774A0B25-BD87-944D-92DC-C9CDCB8134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362310"/>
            <a:ext cx="5582758" cy="5963256"/>
          </a:xfrm>
          <a:prstGeom prst="rect">
            <a:avLst/>
          </a:prstGeom>
          <a:effectLst>
            <a:outerShdw blurRad="457200" sx="102000" sy="102000" algn="ctr" rotWithShape="0">
              <a:schemeClr val="accent3">
                <a:alpha val="40000"/>
              </a:schemeClr>
            </a:outerShdw>
          </a:effectLst>
        </p:spPr>
        <p:txBody>
          <a:bodyPr vert="horz" lIns="54000" tIns="45720" rIns="91440" bIns="45720" numCol="1" rtlCol="0" anchor="ctr">
            <a:noAutofit/>
          </a:bodyPr>
          <a:lstStyle>
            <a:lvl1pPr>
              <a:defRPr sz="5400" b="0" i="0" cap="all" baseline="0">
                <a:solidFill>
                  <a:schemeClr val="bg1"/>
                </a:solidFill>
                <a:latin typeface="Kl Bliss Regular" panose="02010006030000020004" pitchFamily="50" charset="0"/>
              </a:defRPr>
            </a:lvl1pPr>
          </a:lstStyle>
          <a:p>
            <a:r>
              <a:rPr lang="de-DE" dirty="0"/>
              <a:t>Edit Headline</a:t>
            </a:r>
          </a:p>
        </p:txBody>
      </p:sp>
    </p:spTree>
    <p:extLst>
      <p:ext uri="{BB962C8B-B14F-4D97-AF65-F5344CB8AC3E}">
        <p14:creationId xmlns:p14="http://schemas.microsoft.com/office/powerpoint/2010/main" val="3213513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: contact + Financial Cale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5D0DB4A4-3A2A-F84D-8EF2-B7F6875D7DD3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="0" i="0" dirty="0">
              <a:latin typeface="+mn-lt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D22CA260-B0FC-B241-9D23-A890432CB3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4718" y="3500823"/>
            <a:ext cx="197047" cy="197047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16D6F927-4A13-0141-A560-47622A98DC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4497" y="3919840"/>
            <a:ext cx="207156" cy="155367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CDBCC17-746C-C04C-B5B2-7E1FAB2CFA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9526" y="4280921"/>
            <a:ext cx="235152" cy="235152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9469F2A-E2C6-2A47-9BE2-D63D118DED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2" y="1978505"/>
            <a:ext cx="5400675" cy="736767"/>
          </a:xfrm>
        </p:spPr>
        <p:txBody>
          <a:bodyPr numCol="1" anchor="b"/>
          <a:lstStyle>
            <a:lvl1pPr marL="0" indent="0">
              <a:buNone/>
              <a:defRPr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First Name Last Name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8F06AA4E-B3E4-A64B-A3BA-7E0BD333D2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2" y="2721600"/>
            <a:ext cx="5400675" cy="670484"/>
          </a:xfrm>
        </p:spPr>
        <p:txBody>
          <a:bodyPr numCol="1" anchor="t"/>
          <a:lstStyle>
            <a:lvl1pPr marL="0" indent="0">
              <a:buNone/>
              <a:defRPr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Titl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CDAF6BF5-104B-A843-9618-3C0DA12D30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3398400"/>
            <a:ext cx="5076825" cy="393468"/>
          </a:xfrm>
        </p:spPr>
        <p:txBody>
          <a:bodyPr lIns="108000" numCol="1" anchor="t"/>
          <a:lstStyle>
            <a:lvl1pPr marL="0" indent="0">
              <a:buNone/>
              <a:defRPr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+00 000 000 0000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3D2A1C3F-1039-1D46-9750-9BA2437A8A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3" y="3798000"/>
            <a:ext cx="5076825" cy="393468"/>
          </a:xfrm>
        </p:spPr>
        <p:txBody>
          <a:bodyPr lIns="108000" numCol="1" anchor="t"/>
          <a:lstStyle>
            <a:lvl1pPr marL="0" indent="0" algn="l">
              <a:buNone/>
              <a:defRPr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firstname.lastname@kloeckner.com</a:t>
            </a:r>
            <a:endParaRPr lang="de-DE" dirty="0"/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8BEF2B38-B653-844A-B922-F943EDC814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8813" y="4197600"/>
            <a:ext cx="5076825" cy="393468"/>
          </a:xfrm>
        </p:spPr>
        <p:txBody>
          <a:bodyPr lIns="108000" numCol="1" anchor="t"/>
          <a:lstStyle>
            <a:lvl1pPr marL="0" indent="0" algn="l">
              <a:buNone/>
              <a:defRPr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www.kloeckner.com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F4930995-005E-9045-9273-C985A0DCB5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56363" y="1800000"/>
            <a:ext cx="5400676" cy="4320000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00 </a:t>
            </a:r>
            <a:r>
              <a:rPr lang="de-DE" dirty="0" err="1"/>
              <a:t>Month</a:t>
            </a:r>
            <a:r>
              <a:rPr lang="de-DE" dirty="0"/>
              <a:t> 0000</a:t>
            </a:r>
            <a:br>
              <a:rPr lang="de-DE" dirty="0"/>
            </a:br>
            <a:r>
              <a:rPr lang="de-DE" dirty="0"/>
              <a:t>Nam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vent</a:t>
            </a:r>
            <a:r>
              <a:rPr lang="de-DE" dirty="0"/>
              <a:t> / et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00 </a:t>
            </a:r>
            <a:r>
              <a:rPr lang="de-DE" dirty="0" err="1"/>
              <a:t>Month</a:t>
            </a:r>
            <a:r>
              <a:rPr lang="de-DE" dirty="0"/>
              <a:t> 0000</a:t>
            </a:r>
            <a:br>
              <a:rPr lang="de-DE" dirty="0"/>
            </a:br>
            <a:r>
              <a:rPr lang="de-DE" dirty="0"/>
              <a:t>Nam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vent</a:t>
            </a:r>
            <a:r>
              <a:rPr lang="de-DE" dirty="0"/>
              <a:t> / et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00 </a:t>
            </a:r>
            <a:r>
              <a:rPr lang="de-DE" dirty="0" err="1"/>
              <a:t>Month</a:t>
            </a:r>
            <a:r>
              <a:rPr lang="de-DE" dirty="0"/>
              <a:t> 0000</a:t>
            </a:r>
            <a:br>
              <a:rPr lang="de-DE" dirty="0"/>
            </a:br>
            <a:r>
              <a:rPr lang="de-DE" dirty="0"/>
              <a:t>Nam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vent</a:t>
            </a:r>
            <a:r>
              <a:rPr lang="de-DE" dirty="0"/>
              <a:t> / et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00 </a:t>
            </a:r>
            <a:r>
              <a:rPr lang="de-DE" dirty="0" err="1"/>
              <a:t>Month</a:t>
            </a:r>
            <a:r>
              <a:rPr lang="de-DE" dirty="0"/>
              <a:t> 0000</a:t>
            </a:r>
            <a:br>
              <a:rPr lang="de-DE" dirty="0"/>
            </a:br>
            <a:r>
              <a:rPr lang="de-DE" dirty="0"/>
              <a:t>Nam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vent</a:t>
            </a:r>
            <a:r>
              <a:rPr lang="de-DE" dirty="0"/>
              <a:t> / et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endParaRPr lang="de-DE" dirty="0"/>
          </a:p>
        </p:txBody>
      </p:sp>
      <p:sp>
        <p:nvSpPr>
          <p:cNvPr id="23" name="Titelplatzhalter 1">
            <a:extLst>
              <a:ext uri="{FF2B5EF4-FFF2-40B4-BE49-F238E27FC236}">
                <a16:creationId xmlns:a16="http://schemas.microsoft.com/office/drawing/2014/main" id="{69986FE6-305A-764B-B985-67E64C1B79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362" y="1270800"/>
            <a:ext cx="5400675" cy="522000"/>
          </a:xfrm>
          <a:prstGeom prst="rect">
            <a:avLst/>
          </a:prstGeom>
        </p:spPr>
        <p:txBody>
          <a:bodyPr vert="horz" lIns="91440" tIns="45720" rIns="91440" bIns="45720" numCol="1" rtlCol="0" anchor="ctr">
            <a:noAutofit/>
          </a:bodyPr>
          <a:lstStyle>
            <a:lvl1pPr>
              <a:defRPr sz="1800" b="0" i="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dirty="0"/>
              <a:t>Financial </a:t>
            </a:r>
            <a:r>
              <a:rPr lang="de-DE" dirty="0" err="1"/>
              <a:t>Calendar</a:t>
            </a:r>
            <a:endParaRPr lang="de-DE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25E5FE80-42B3-304B-A95D-4A59C0F7B5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 dirty="0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316EC2A2-3AC7-3D47-A8D4-3D3DA06996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onth 2022  |  </a:t>
            </a:r>
            <a:r>
              <a:rPr lang="en-GB" dirty="0" err="1"/>
              <a:t>Klöckner</a:t>
            </a:r>
            <a:r>
              <a:rPr lang="en-GB" dirty="0"/>
              <a:t> &amp; Co SE  |  Name of the presentation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23D90A0C-7C90-B4A6-4261-BAEAE62140B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8239" y="430569"/>
            <a:ext cx="3832991" cy="447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7204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full p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"/>
          <p:cNvSpPr/>
          <p:nvPr userDrawn="1"/>
        </p:nvSpPr>
        <p:spPr>
          <a:xfrm>
            <a:off x="514800" y="475200"/>
            <a:ext cx="11160000" cy="550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/>
            <a:endParaRPr lang="de-DE" sz="6000"/>
          </a:p>
        </p:txBody>
      </p:sp>
      <p:sp>
        <p:nvSpPr>
          <p:cNvPr id="2" name="Titel"/>
          <p:cNvSpPr>
            <a:spLocks noGrp="1"/>
          </p:cNvSpPr>
          <p:nvPr>
            <p:ph type="ctrTitle" hasCustomPrompt="1"/>
          </p:nvPr>
        </p:nvSpPr>
        <p:spPr>
          <a:xfrm>
            <a:off x="730800" y="723599"/>
            <a:ext cx="10908000" cy="1116000"/>
          </a:xfrm>
        </p:spPr>
        <p:txBody>
          <a:bodyPr anchor="t" anchorCtr="0">
            <a:normAutofit/>
          </a:bodyPr>
          <a:lstStyle>
            <a:lvl1pPr marL="0" indent="0">
              <a:defRPr lang="de-DE" sz="7400" b="1" i="0" baseline="0">
                <a:solidFill>
                  <a:schemeClr val="bg1"/>
                </a:solidFill>
                <a:latin typeface="Arial" charset="0"/>
                <a:cs typeface="+mj-cs"/>
              </a:defRPr>
            </a:lvl1pPr>
          </a:lstStyle>
          <a:p>
            <a:pPr lvl="0" defTabSz="914377"/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presentation</a:t>
            </a:r>
            <a:endParaRPr lang="de-DE"/>
          </a:p>
        </p:txBody>
      </p:sp>
      <p:sp>
        <p:nvSpPr>
          <p:cNvPr id="3" name="Untertitel"/>
          <p:cNvSpPr>
            <a:spLocks noGrp="1"/>
          </p:cNvSpPr>
          <p:nvPr>
            <p:ph type="subTitle" idx="1" hasCustomPrompt="1"/>
          </p:nvPr>
        </p:nvSpPr>
        <p:spPr>
          <a:xfrm>
            <a:off x="730800" y="1841824"/>
            <a:ext cx="5342400" cy="5040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and</a:t>
            </a:r>
            <a:r>
              <a:rPr lang="de-DE"/>
              <a:t> </a:t>
            </a:r>
            <a:r>
              <a:rPr lang="de-DE" err="1"/>
              <a:t>other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presentation</a:t>
            </a:r>
            <a:endParaRPr lang="de-DE"/>
          </a:p>
        </p:txBody>
      </p:sp>
      <p:sp>
        <p:nvSpPr>
          <p:cNvPr id="6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extplatzhalter Name 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730800" y="3502800"/>
            <a:ext cx="5349600" cy="3780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Name | Title</a:t>
            </a:r>
          </a:p>
        </p:txBody>
      </p:sp>
      <p:sp>
        <p:nvSpPr>
          <p:cNvPr id="11" name="Textplatzhalter Place Date"/>
          <p:cNvSpPr>
            <a:spLocks noGrp="1"/>
          </p:cNvSpPr>
          <p:nvPr>
            <p:ph type="body" sz="quarter" idx="14" hasCustomPrompt="1"/>
          </p:nvPr>
        </p:nvSpPr>
        <p:spPr>
          <a:xfrm>
            <a:off x="730800" y="4053600"/>
            <a:ext cx="5356800" cy="10620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Place</a:t>
            </a:r>
          </a:p>
          <a:p>
            <a:pPr lvl="0"/>
            <a:r>
              <a:rPr lang="de-DE"/>
              <a:t>Place</a:t>
            </a:r>
          </a:p>
          <a:p>
            <a:pPr lvl="0"/>
            <a:r>
              <a:rPr lang="de-DE"/>
              <a:t>Date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00" y="5295600"/>
            <a:ext cx="1066892" cy="469433"/>
          </a:xfrm>
          <a:prstGeom prst="rect">
            <a:avLst/>
          </a:prstGeom>
        </p:spPr>
      </p:pic>
      <p:cxnSp>
        <p:nvCxnSpPr>
          <p:cNvPr id="17" name="Gerade Verbindung"/>
          <p:cNvCxnSpPr/>
          <p:nvPr userDrawn="1"/>
        </p:nvCxnSpPr>
        <p:spPr>
          <a:xfrm>
            <a:off x="514800" y="6237312"/>
            <a:ext cx="11160000" cy="0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0590" y="6093296"/>
            <a:ext cx="119056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772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"/>
          <p:cNvSpPr/>
          <p:nvPr userDrawn="1"/>
        </p:nvSpPr>
        <p:spPr>
          <a:xfrm>
            <a:off x="514800" y="475200"/>
            <a:ext cx="5580000" cy="550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730800" y="723600"/>
            <a:ext cx="5328000" cy="1404000"/>
          </a:xfrm>
        </p:spPr>
        <p:txBody>
          <a:bodyPr anchor="t" anchorCtr="0">
            <a:normAutofit/>
          </a:bodyPr>
          <a:lstStyle>
            <a:lvl1pPr>
              <a:defRPr lang="de-DE" sz="5400" b="1" i="0" kern="1200" baseline="0" smtClean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presentation</a:t>
            </a:r>
            <a:endParaRPr lang="de-DE"/>
          </a:p>
        </p:txBody>
      </p:sp>
      <p:sp>
        <p:nvSpPr>
          <p:cNvPr id="3" name="Bildplatzhalter"/>
          <p:cNvSpPr>
            <a:spLocks noGrp="1"/>
          </p:cNvSpPr>
          <p:nvPr>
            <p:ph type="pic" idx="1" hasCustomPrompt="1"/>
          </p:nvPr>
        </p:nvSpPr>
        <p:spPr>
          <a:xfrm>
            <a:off x="6097181" y="475200"/>
            <a:ext cx="5576400" cy="5508000"/>
          </a:xfrm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Image</a:t>
            </a:r>
          </a:p>
        </p:txBody>
      </p:sp>
      <p:sp>
        <p:nvSpPr>
          <p:cNvPr id="5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6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7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17" name="Untertitel"/>
          <p:cNvSpPr>
            <a:spLocks noGrp="1"/>
          </p:cNvSpPr>
          <p:nvPr>
            <p:ph type="subTitle" idx="13" hasCustomPrompt="1"/>
          </p:nvPr>
        </p:nvSpPr>
        <p:spPr>
          <a:xfrm>
            <a:off x="730800" y="2365200"/>
            <a:ext cx="5328000" cy="5040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and</a:t>
            </a:r>
            <a:r>
              <a:rPr lang="de-DE"/>
              <a:t> </a:t>
            </a:r>
            <a:r>
              <a:rPr lang="de-DE" err="1"/>
              <a:t>other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presentation</a:t>
            </a:r>
            <a:endParaRPr lang="de-DE"/>
          </a:p>
        </p:txBody>
      </p:sp>
      <p:sp>
        <p:nvSpPr>
          <p:cNvPr id="18" name="Textplatzhalter Name Title"/>
          <p:cNvSpPr>
            <a:spLocks noGrp="1"/>
          </p:cNvSpPr>
          <p:nvPr>
            <p:ph type="body" sz="quarter" idx="14" hasCustomPrompt="1"/>
          </p:nvPr>
        </p:nvSpPr>
        <p:spPr>
          <a:xfrm>
            <a:off x="730800" y="3502800"/>
            <a:ext cx="5328000" cy="3780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Name | Title</a:t>
            </a:r>
          </a:p>
        </p:txBody>
      </p:sp>
      <p:sp>
        <p:nvSpPr>
          <p:cNvPr id="19" name="Textplatzhalter Place Date"/>
          <p:cNvSpPr>
            <a:spLocks noGrp="1"/>
          </p:cNvSpPr>
          <p:nvPr>
            <p:ph type="body" sz="quarter" idx="15" hasCustomPrompt="1"/>
          </p:nvPr>
        </p:nvSpPr>
        <p:spPr>
          <a:xfrm>
            <a:off x="730800" y="4053600"/>
            <a:ext cx="5328000" cy="10620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Place</a:t>
            </a:r>
          </a:p>
          <a:p>
            <a:pPr lvl="0"/>
            <a:r>
              <a:rPr lang="de-DE"/>
              <a:t>Place</a:t>
            </a:r>
          </a:p>
          <a:p>
            <a:pPr lvl="0"/>
            <a:r>
              <a:rPr lang="de-DE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072296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right +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"/>
          <p:cNvSpPr/>
          <p:nvPr userDrawn="1"/>
        </p:nvSpPr>
        <p:spPr>
          <a:xfrm>
            <a:off x="6098400" y="475200"/>
            <a:ext cx="5576400" cy="550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6334431" y="723600"/>
            <a:ext cx="5328000" cy="1404000"/>
          </a:xfrm>
        </p:spPr>
        <p:txBody>
          <a:bodyPr anchor="t" anchorCtr="0">
            <a:normAutofit/>
          </a:bodyPr>
          <a:lstStyle>
            <a:lvl1pPr>
              <a:defRPr lang="de-DE" sz="5400" b="1" i="0" kern="1200" baseline="0" smtClean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presentation</a:t>
            </a:r>
            <a:endParaRPr lang="de-DE"/>
          </a:p>
        </p:txBody>
      </p:sp>
      <p:sp>
        <p:nvSpPr>
          <p:cNvPr id="3" name="Bildplatzhalter"/>
          <p:cNvSpPr>
            <a:spLocks noGrp="1"/>
          </p:cNvSpPr>
          <p:nvPr>
            <p:ph type="pic" idx="1" hasCustomPrompt="1"/>
          </p:nvPr>
        </p:nvSpPr>
        <p:spPr>
          <a:xfrm>
            <a:off x="514800" y="475200"/>
            <a:ext cx="5580000" cy="550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Image</a:t>
            </a:r>
          </a:p>
        </p:txBody>
      </p:sp>
      <p:sp>
        <p:nvSpPr>
          <p:cNvPr id="5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6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7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17" name="Untertitel"/>
          <p:cNvSpPr>
            <a:spLocks noGrp="1"/>
          </p:cNvSpPr>
          <p:nvPr>
            <p:ph type="subTitle" idx="13" hasCustomPrompt="1"/>
          </p:nvPr>
        </p:nvSpPr>
        <p:spPr>
          <a:xfrm>
            <a:off x="6334431" y="2365200"/>
            <a:ext cx="5328000" cy="5040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err="1"/>
              <a:t>Subtitle</a:t>
            </a:r>
            <a:r>
              <a:rPr lang="de-DE"/>
              <a:t> </a:t>
            </a:r>
            <a:r>
              <a:rPr lang="de-DE" err="1"/>
              <a:t>and</a:t>
            </a:r>
            <a:r>
              <a:rPr lang="de-DE"/>
              <a:t> </a:t>
            </a:r>
            <a:r>
              <a:rPr lang="de-DE" err="1"/>
              <a:t>other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presentation</a:t>
            </a:r>
            <a:endParaRPr lang="de-DE"/>
          </a:p>
        </p:txBody>
      </p:sp>
      <p:sp>
        <p:nvSpPr>
          <p:cNvPr id="18" name="Textplatzhalter Name Title"/>
          <p:cNvSpPr>
            <a:spLocks noGrp="1"/>
          </p:cNvSpPr>
          <p:nvPr>
            <p:ph type="body" sz="quarter" idx="14" hasCustomPrompt="1"/>
          </p:nvPr>
        </p:nvSpPr>
        <p:spPr>
          <a:xfrm>
            <a:off x="6334431" y="3502800"/>
            <a:ext cx="5328000" cy="3780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Name | Title</a:t>
            </a:r>
          </a:p>
        </p:txBody>
      </p:sp>
      <p:sp>
        <p:nvSpPr>
          <p:cNvPr id="19" name="Textplatzhalter Place Date"/>
          <p:cNvSpPr>
            <a:spLocks noGrp="1"/>
          </p:cNvSpPr>
          <p:nvPr>
            <p:ph type="body" sz="quarter" idx="15" hasCustomPrompt="1"/>
          </p:nvPr>
        </p:nvSpPr>
        <p:spPr>
          <a:xfrm>
            <a:off x="6334431" y="4053600"/>
            <a:ext cx="5328000" cy="10620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Place</a:t>
            </a:r>
          </a:p>
          <a:p>
            <a:pPr lvl="0"/>
            <a:r>
              <a:rPr lang="de-DE"/>
              <a:t>Place</a:t>
            </a:r>
          </a:p>
          <a:p>
            <a:pPr lvl="0"/>
            <a:r>
              <a:rPr lang="de-DE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944748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"/>
          <p:cNvSpPr/>
          <p:nvPr userDrawn="1"/>
        </p:nvSpPr>
        <p:spPr>
          <a:xfrm>
            <a:off x="514800" y="475200"/>
            <a:ext cx="11160000" cy="550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694800" y="648000"/>
            <a:ext cx="10980000" cy="540000"/>
          </a:xfrm>
        </p:spPr>
        <p:txBody>
          <a:bodyPr lIns="0" tIns="90000" rIns="90000" bIns="90000" anchor="t" anchorCtr="0"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de-DE"/>
              <a:t>Agenda title</a:t>
            </a:r>
          </a:p>
        </p:txBody>
      </p:sp>
      <p:sp>
        <p:nvSpPr>
          <p:cNvPr id="4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5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6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"/>
          <p:cNvSpPr>
            <a:spLocks noGrp="1"/>
          </p:cNvSpPr>
          <p:nvPr>
            <p:ph sz="quarter" idx="13" hasCustomPrompt="1"/>
          </p:nvPr>
        </p:nvSpPr>
        <p:spPr>
          <a:xfrm>
            <a:off x="694800" y="1476000"/>
            <a:ext cx="10980000" cy="4500000"/>
          </a:xfrm>
        </p:spPr>
        <p:txBody>
          <a:bodyPr>
            <a:normAutofit/>
          </a:bodyPr>
          <a:lstStyle>
            <a:lvl1pPr marL="457200" indent="-457200">
              <a:buFont typeface="+mj-lt"/>
              <a:buAutoNum type="arabicPeriod"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</p:txBody>
      </p:sp>
    </p:spTree>
    <p:extLst>
      <p:ext uri="{BB962C8B-B14F-4D97-AF65-F5344CB8AC3E}">
        <p14:creationId xmlns:p14="http://schemas.microsoft.com/office/powerpoint/2010/main" val="3131800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694800" y="648000"/>
            <a:ext cx="10980000" cy="540000"/>
          </a:xfrm>
        </p:spPr>
        <p:txBody>
          <a:bodyPr lIns="0" tIns="90000" rIns="90000" bIns="90000" anchor="t" anchorCtr="0">
            <a:normAutofit/>
          </a:bodyPr>
          <a:lstStyle>
            <a:lvl1pPr>
              <a:defRPr sz="2400" b="1">
                <a:solidFill>
                  <a:srgbClr val="000000"/>
                </a:solidFill>
              </a:defRPr>
            </a:lvl1pPr>
          </a:lstStyle>
          <a:p>
            <a:r>
              <a:rPr lang="de-DE"/>
              <a:t>Agenda title</a:t>
            </a:r>
          </a:p>
        </p:txBody>
      </p:sp>
      <p:sp>
        <p:nvSpPr>
          <p:cNvPr id="4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5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6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cxnSp>
        <p:nvCxnSpPr>
          <p:cNvPr id="8" name="Gerade Verbindung"/>
          <p:cNvCxnSpPr/>
          <p:nvPr userDrawn="1"/>
        </p:nvCxnSpPr>
        <p:spPr>
          <a:xfrm>
            <a:off x="514800" y="1110975"/>
            <a:ext cx="11160000" cy="0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Inhaltsplatzhalter"/>
          <p:cNvSpPr>
            <a:spLocks noGrp="1"/>
          </p:cNvSpPr>
          <p:nvPr>
            <p:ph sz="quarter" idx="14" hasCustomPrompt="1"/>
          </p:nvPr>
        </p:nvSpPr>
        <p:spPr>
          <a:xfrm>
            <a:off x="694800" y="1476000"/>
            <a:ext cx="10980000" cy="4500000"/>
          </a:xfr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2400"/>
            </a:lvl1pPr>
            <a:lvl2pPr marL="457200" indent="0">
              <a:buFont typeface="+mj-lt"/>
              <a:buNone/>
              <a:defRPr/>
            </a:lvl2pPr>
            <a:lvl3pPr marL="914400" indent="0">
              <a:buFont typeface="+mj-lt"/>
              <a:buNone/>
              <a:defRPr/>
            </a:lvl3pPr>
            <a:lvl4pPr marL="1371600" indent="0">
              <a:buFont typeface="+mj-lt"/>
              <a:buNone/>
              <a:defRPr/>
            </a:lvl4pPr>
            <a:lvl5pPr marL="1828800" indent="0">
              <a:buFont typeface="+mj-lt"/>
              <a:buNone/>
              <a:defRPr/>
            </a:lvl5pPr>
          </a:lstStyle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</p:txBody>
      </p:sp>
    </p:spTree>
    <p:extLst>
      <p:ext uri="{BB962C8B-B14F-4D97-AF65-F5344CB8AC3E}">
        <p14:creationId xmlns:p14="http://schemas.microsoft.com/office/powerpoint/2010/main" val="3545614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1: Überschrift + Text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3B866A09-6D9C-7440-87FB-A8856BDEA3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324196"/>
            <a:ext cx="11522075" cy="9432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b="0" i="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Edit Headli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862BA42-4425-0143-81C1-89FE7A5AFE6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4962" y="3599098"/>
            <a:ext cx="11522076" cy="28728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n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 b="0" i="0">
                <a:latin typeface="Kl Bliss Office" panose="02000506030000020004" pitchFamily="2" charset="0"/>
              </a:defRPr>
            </a:lvl5pPr>
          </a:lstStyle>
          <a:p>
            <a:r>
              <a:rPr lang="de-DE"/>
              <a:t>Add </a:t>
            </a:r>
            <a:r>
              <a:rPr lang="de-DE" err="1"/>
              <a:t>tabl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diagram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12FBEE-1B67-4A32-AAF4-C5CA049B2FC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963" y="1274400"/>
            <a:ext cx="11522075" cy="23184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8C4986E-61E0-DD49-8E55-92123D7091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0087596E-15F2-42AE-8D09-E9D1110FC3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rch 2022  | KCD KMA KMNL |  Monthly Country Update Cal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78648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"/>
          <p:cNvSpPr/>
          <p:nvPr userDrawn="1"/>
        </p:nvSpPr>
        <p:spPr>
          <a:xfrm>
            <a:off x="514800" y="475200"/>
            <a:ext cx="11160000" cy="550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694800" y="648000"/>
            <a:ext cx="10980000" cy="540000"/>
          </a:xfrm>
        </p:spPr>
        <p:txBody>
          <a:bodyPr lIns="0" tIns="90000" rIns="90000" bIns="90000" anchor="t" anchorCtr="0">
            <a:normAutofit/>
          </a:bodyPr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de-DE"/>
              <a:t>Agenda title</a:t>
            </a:r>
          </a:p>
        </p:txBody>
      </p:sp>
      <p:sp>
        <p:nvSpPr>
          <p:cNvPr id="4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5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6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"/>
          <p:cNvSpPr>
            <a:spLocks noGrp="1"/>
          </p:cNvSpPr>
          <p:nvPr>
            <p:ph sz="quarter" idx="13" hasCustomPrompt="1"/>
          </p:nvPr>
        </p:nvSpPr>
        <p:spPr>
          <a:xfrm>
            <a:off x="694800" y="1476000"/>
            <a:ext cx="10980000" cy="4500000"/>
          </a:xfrm>
        </p:spPr>
        <p:txBody>
          <a:bodyPr>
            <a:normAutofit/>
          </a:bodyPr>
          <a:lstStyle>
            <a:lvl1pPr marL="514350" indent="-514350">
              <a:buFont typeface="+mj-lt"/>
              <a:buAutoNum type="arabicPeriod"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  <a:p>
            <a:pPr lvl="0"/>
            <a:r>
              <a:rPr lang="en-US"/>
              <a:t>Insert your Agenda/Chapter points here</a:t>
            </a:r>
          </a:p>
        </p:txBody>
      </p:sp>
    </p:spTree>
    <p:extLst>
      <p:ext uri="{BB962C8B-B14F-4D97-AF65-F5344CB8AC3E}">
        <p14:creationId xmlns:p14="http://schemas.microsoft.com/office/powerpoint/2010/main" val="42752313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1056000" y="648000"/>
            <a:ext cx="10620000" cy="540000"/>
          </a:xfrm>
        </p:spPr>
        <p:txBody>
          <a:bodyPr vert="horz" lIns="0" tIns="90000" rIns="90000" bIns="90000" rtlCol="0" anchor="t" anchorCtr="0">
            <a:normAutofit/>
          </a:bodyPr>
          <a:lstStyle>
            <a:lvl1pPr>
              <a:defRPr lang="de-DE" sz="24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de-DE"/>
              <a:t>Insert </a:t>
            </a:r>
            <a:r>
              <a:rPr lang="de-DE" err="1"/>
              <a:t>slide</a:t>
            </a:r>
            <a:r>
              <a:rPr lang="de-DE"/>
              <a:t> title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3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4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Gesellschafterversammlung</a:t>
            </a:r>
          </a:p>
        </p:txBody>
      </p:sp>
      <p:sp>
        <p:nvSpPr>
          <p:cNvPr id="5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extplatzhalter 00"/>
          <p:cNvSpPr>
            <a:spLocks noGrp="1"/>
          </p:cNvSpPr>
          <p:nvPr>
            <p:ph type="body" sz="quarter" idx="13" hasCustomPrompt="1"/>
          </p:nvPr>
        </p:nvSpPr>
        <p:spPr>
          <a:xfrm>
            <a:off x="514800" y="648000"/>
            <a:ext cx="540000" cy="540000"/>
          </a:xfrm>
        </p:spPr>
        <p:txBody>
          <a:bodyPr lIns="0" tIns="90000" bIns="90000"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00</a:t>
            </a:r>
          </a:p>
        </p:txBody>
      </p:sp>
      <p:cxnSp>
        <p:nvCxnSpPr>
          <p:cNvPr id="9" name="Gerade Verbindung"/>
          <p:cNvCxnSpPr/>
          <p:nvPr userDrawn="1"/>
        </p:nvCxnSpPr>
        <p:spPr>
          <a:xfrm>
            <a:off x="514800" y="1110975"/>
            <a:ext cx="11160000" cy="0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60283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1054800" y="648000"/>
            <a:ext cx="10620000" cy="540000"/>
          </a:xfrm>
        </p:spPr>
        <p:txBody>
          <a:bodyPr tIns="90000" bIns="90000" anchor="t" anchorCtr="0">
            <a:normAutofit/>
          </a:bodyPr>
          <a:lstStyle>
            <a:lvl1pPr>
              <a:defRPr lang="de-DE" sz="2400" b="1" kern="12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Insert </a:t>
            </a:r>
            <a:r>
              <a:rPr lang="de-DE" err="1"/>
              <a:t>slide</a:t>
            </a:r>
            <a:r>
              <a:rPr lang="de-DE"/>
              <a:t> title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3" name="Inhaltsplatzhalter"/>
          <p:cNvSpPr>
            <a:spLocks noGrp="1"/>
          </p:cNvSpPr>
          <p:nvPr>
            <p:ph idx="1" hasCustomPrompt="1"/>
          </p:nvPr>
        </p:nvSpPr>
        <p:spPr>
          <a:xfrm>
            <a:off x="514800" y="1476000"/>
            <a:ext cx="11160000" cy="4500000"/>
          </a:xfrm>
        </p:spPr>
        <p:txBody>
          <a:bodyPr lIns="0">
            <a:normAutofit/>
          </a:bodyPr>
          <a:lstStyle>
            <a:lvl1pPr marL="0" indent="0">
              <a:buNone/>
              <a:defRPr sz="24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1</a:t>
            </a:r>
          </a:p>
          <a:p>
            <a:pPr lvl="1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2</a:t>
            </a:r>
          </a:p>
          <a:p>
            <a:pPr lvl="2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3</a:t>
            </a:r>
          </a:p>
          <a:p>
            <a:pPr lvl="3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4</a:t>
            </a:r>
          </a:p>
          <a:p>
            <a:pPr lvl="4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5</a:t>
            </a:r>
          </a:p>
        </p:txBody>
      </p:sp>
      <p:sp>
        <p:nvSpPr>
          <p:cNvPr id="4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5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6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00"/>
          <p:cNvSpPr>
            <a:spLocks noGrp="1"/>
          </p:cNvSpPr>
          <p:nvPr>
            <p:ph type="body" sz="quarter" idx="13" hasCustomPrompt="1"/>
          </p:nvPr>
        </p:nvSpPr>
        <p:spPr>
          <a:xfrm>
            <a:off x="514800" y="648000"/>
            <a:ext cx="540000" cy="540000"/>
          </a:xfrm>
        </p:spPr>
        <p:txBody>
          <a:bodyPr lIns="0" tIns="90000" bIns="90000"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00</a:t>
            </a:r>
          </a:p>
        </p:txBody>
      </p:sp>
      <p:cxnSp>
        <p:nvCxnSpPr>
          <p:cNvPr id="10" name="Gerade Verbindung"/>
          <p:cNvCxnSpPr/>
          <p:nvPr userDrawn="1"/>
        </p:nvCxnSpPr>
        <p:spPr>
          <a:xfrm>
            <a:off x="514800" y="1110975"/>
            <a:ext cx="11160000" cy="0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515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265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1054800" y="648000"/>
            <a:ext cx="10620000" cy="540000"/>
          </a:xfrm>
        </p:spPr>
        <p:txBody>
          <a:bodyPr tIns="90000" bIns="90000" anchor="t" anchorCtr="0">
            <a:normAutofit/>
          </a:bodyPr>
          <a:lstStyle>
            <a:lvl1pPr>
              <a:defRPr lang="de-DE" sz="2400" b="1" kern="120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Insert </a:t>
            </a:r>
            <a:r>
              <a:rPr lang="de-DE" err="1"/>
              <a:t>slide</a:t>
            </a:r>
            <a:r>
              <a:rPr lang="de-DE"/>
              <a:t> title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3" name="Inhaltsplatzhalter 1"/>
          <p:cNvSpPr>
            <a:spLocks noGrp="1"/>
          </p:cNvSpPr>
          <p:nvPr>
            <p:ph sz="half" idx="1" hasCustomPrompt="1"/>
          </p:nvPr>
        </p:nvSpPr>
        <p:spPr>
          <a:xfrm>
            <a:off x="514800" y="1476000"/>
            <a:ext cx="5580000" cy="4500000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1</a:t>
            </a:r>
          </a:p>
          <a:p>
            <a:pPr lvl="1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2</a:t>
            </a:r>
          </a:p>
          <a:p>
            <a:pPr lvl="2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3</a:t>
            </a:r>
          </a:p>
          <a:p>
            <a:pPr lvl="3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4</a:t>
            </a:r>
          </a:p>
          <a:p>
            <a:pPr lvl="4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5</a:t>
            </a:r>
          </a:p>
        </p:txBody>
      </p:sp>
      <p:sp>
        <p:nvSpPr>
          <p:cNvPr id="4" name="Inhaltsplatzhalter 2"/>
          <p:cNvSpPr>
            <a:spLocks noGrp="1"/>
          </p:cNvSpPr>
          <p:nvPr>
            <p:ph sz="half" idx="2" hasCustomPrompt="1"/>
          </p:nvPr>
        </p:nvSpPr>
        <p:spPr>
          <a:xfrm>
            <a:off x="6091200" y="1476000"/>
            <a:ext cx="5576400" cy="4500000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1</a:t>
            </a:r>
          </a:p>
          <a:p>
            <a:pPr lvl="1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2</a:t>
            </a:r>
          </a:p>
          <a:p>
            <a:pPr lvl="2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3</a:t>
            </a:r>
          </a:p>
          <a:p>
            <a:pPr lvl="3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4</a:t>
            </a:r>
          </a:p>
          <a:p>
            <a:pPr lvl="4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5</a:t>
            </a:r>
          </a:p>
        </p:txBody>
      </p:sp>
      <p:sp>
        <p:nvSpPr>
          <p:cNvPr id="5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6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7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extplatzhalter 00"/>
          <p:cNvSpPr>
            <a:spLocks noGrp="1"/>
          </p:cNvSpPr>
          <p:nvPr>
            <p:ph type="body" sz="quarter" idx="13" hasCustomPrompt="1"/>
          </p:nvPr>
        </p:nvSpPr>
        <p:spPr>
          <a:xfrm>
            <a:off x="514800" y="648000"/>
            <a:ext cx="540000" cy="540000"/>
          </a:xfrm>
        </p:spPr>
        <p:txBody>
          <a:bodyPr tIns="90000" bIns="90000"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de-DE"/>
              <a:t>00</a:t>
            </a:r>
          </a:p>
        </p:txBody>
      </p:sp>
      <p:cxnSp>
        <p:nvCxnSpPr>
          <p:cNvPr id="12" name="Gerade Verbindung"/>
          <p:cNvCxnSpPr/>
          <p:nvPr userDrawn="1"/>
        </p:nvCxnSpPr>
        <p:spPr>
          <a:xfrm>
            <a:off x="514800" y="1110975"/>
            <a:ext cx="11160000" cy="0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64354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1054800" y="648000"/>
            <a:ext cx="10620000" cy="540000"/>
          </a:xfrm>
        </p:spPr>
        <p:txBody>
          <a:bodyPr tIns="90000" bIns="90000" anchor="t" anchorCtr="0">
            <a:normAutofit/>
          </a:bodyPr>
          <a:lstStyle>
            <a:lvl1pPr>
              <a:defRPr lang="de-DE" sz="2400" b="1" kern="120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Insert </a:t>
            </a:r>
            <a:r>
              <a:rPr lang="de-DE" err="1"/>
              <a:t>slide</a:t>
            </a:r>
            <a:r>
              <a:rPr lang="de-DE"/>
              <a:t> title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3" name="Inhaltsplatzhalter 1"/>
          <p:cNvSpPr>
            <a:spLocks noGrp="1"/>
          </p:cNvSpPr>
          <p:nvPr>
            <p:ph sz="half" idx="1" hasCustomPrompt="1"/>
          </p:nvPr>
        </p:nvSpPr>
        <p:spPr>
          <a:xfrm>
            <a:off x="514800" y="1476000"/>
            <a:ext cx="2700000" cy="4500000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360000" indent="-180000">
              <a:defRPr sz="1800"/>
            </a:lvl2pPr>
            <a:lvl3pPr marL="720000" indent="-180000">
              <a:defRPr sz="1800"/>
            </a:lvl3pPr>
            <a:lvl4pPr marL="1080000" indent="-180000">
              <a:defRPr sz="1800"/>
            </a:lvl4pPr>
            <a:lvl5pPr marL="1440000" indent="-180000">
              <a:defRPr sz="1800"/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1</a:t>
            </a:r>
          </a:p>
          <a:p>
            <a:pPr lvl="1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2</a:t>
            </a:r>
          </a:p>
          <a:p>
            <a:pPr lvl="2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3</a:t>
            </a:r>
          </a:p>
          <a:p>
            <a:pPr lvl="3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4</a:t>
            </a:r>
          </a:p>
          <a:p>
            <a:pPr lvl="4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5</a:t>
            </a:r>
          </a:p>
        </p:txBody>
      </p:sp>
      <p:sp>
        <p:nvSpPr>
          <p:cNvPr id="4" name="Inhaltsplatzhalter 2"/>
          <p:cNvSpPr>
            <a:spLocks noGrp="1"/>
          </p:cNvSpPr>
          <p:nvPr>
            <p:ph sz="half" idx="2" hasCustomPrompt="1"/>
          </p:nvPr>
        </p:nvSpPr>
        <p:spPr>
          <a:xfrm>
            <a:off x="3335200" y="1476000"/>
            <a:ext cx="2700000" cy="4500000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360000" indent="-180000">
              <a:defRPr sz="1800"/>
            </a:lvl2pPr>
            <a:lvl3pPr marL="720000" indent="-180000">
              <a:defRPr sz="1800"/>
            </a:lvl3pPr>
            <a:lvl4pPr marL="1080000" indent="-180000">
              <a:defRPr sz="1800"/>
            </a:lvl4pPr>
            <a:lvl5pPr marL="1440000" indent="-180000">
              <a:defRPr sz="1800"/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1</a:t>
            </a:r>
          </a:p>
          <a:p>
            <a:pPr lvl="1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2</a:t>
            </a:r>
          </a:p>
          <a:p>
            <a:pPr lvl="2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3</a:t>
            </a:r>
          </a:p>
          <a:p>
            <a:pPr lvl="3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4</a:t>
            </a:r>
          </a:p>
          <a:p>
            <a:pPr lvl="4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5</a:t>
            </a:r>
          </a:p>
        </p:txBody>
      </p:sp>
      <p:sp>
        <p:nvSpPr>
          <p:cNvPr id="5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6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7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extplatzhalter 00"/>
          <p:cNvSpPr>
            <a:spLocks noGrp="1"/>
          </p:cNvSpPr>
          <p:nvPr>
            <p:ph type="body" sz="quarter" idx="13" hasCustomPrompt="1"/>
          </p:nvPr>
        </p:nvSpPr>
        <p:spPr>
          <a:xfrm>
            <a:off x="514800" y="648000"/>
            <a:ext cx="540000" cy="540000"/>
          </a:xfrm>
        </p:spPr>
        <p:txBody>
          <a:bodyPr tIns="90000" bIns="90000"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155600" y="1476000"/>
            <a:ext cx="2700000" cy="4500000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360000" indent="-180000">
              <a:defRPr sz="1800"/>
            </a:lvl2pPr>
            <a:lvl3pPr marL="720000" indent="-180000">
              <a:defRPr sz="1800"/>
            </a:lvl3pPr>
            <a:lvl4pPr marL="1080000" indent="-180000">
              <a:defRPr sz="1800"/>
            </a:lvl4pPr>
            <a:lvl5pPr marL="1440000" indent="-180000">
              <a:defRPr sz="1800"/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1</a:t>
            </a:r>
          </a:p>
          <a:p>
            <a:pPr lvl="1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2</a:t>
            </a:r>
          </a:p>
          <a:p>
            <a:pPr lvl="2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3</a:t>
            </a:r>
          </a:p>
          <a:p>
            <a:pPr lvl="3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4</a:t>
            </a:r>
          </a:p>
          <a:p>
            <a:pPr lvl="4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5</a:t>
            </a:r>
          </a:p>
        </p:txBody>
      </p:sp>
      <p:sp>
        <p:nvSpPr>
          <p:cNvPr id="12" name="Inhaltsplatzhalter 4"/>
          <p:cNvSpPr>
            <a:spLocks noGrp="1"/>
          </p:cNvSpPr>
          <p:nvPr>
            <p:ph sz="half" idx="15" hasCustomPrompt="1"/>
          </p:nvPr>
        </p:nvSpPr>
        <p:spPr>
          <a:xfrm>
            <a:off x="8976000" y="1476000"/>
            <a:ext cx="2700000" cy="4500000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360000" indent="-180000">
              <a:defRPr sz="1800"/>
            </a:lvl2pPr>
            <a:lvl3pPr marL="720000" indent="-180000">
              <a:defRPr sz="1800"/>
            </a:lvl3pPr>
            <a:lvl4pPr marL="1080000" indent="-180000">
              <a:defRPr sz="1800"/>
            </a:lvl4pPr>
            <a:lvl5pPr marL="1440000" indent="-180000">
              <a:defRPr sz="1800"/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1</a:t>
            </a:r>
          </a:p>
          <a:p>
            <a:pPr lvl="1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2</a:t>
            </a:r>
          </a:p>
          <a:p>
            <a:pPr lvl="2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3</a:t>
            </a:r>
          </a:p>
          <a:p>
            <a:pPr lvl="3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4</a:t>
            </a:r>
          </a:p>
          <a:p>
            <a:pPr lvl="4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5</a:t>
            </a:r>
          </a:p>
        </p:txBody>
      </p:sp>
      <p:cxnSp>
        <p:nvCxnSpPr>
          <p:cNvPr id="14" name="Gerade Verbindung"/>
          <p:cNvCxnSpPr/>
          <p:nvPr userDrawn="1"/>
        </p:nvCxnSpPr>
        <p:spPr>
          <a:xfrm>
            <a:off x="514800" y="1110975"/>
            <a:ext cx="11160000" cy="0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3091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7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|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"/>
          <p:cNvSpPr/>
          <p:nvPr userDrawn="1"/>
        </p:nvSpPr>
        <p:spPr>
          <a:xfrm>
            <a:off x="514800" y="475200"/>
            <a:ext cx="11160000" cy="550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5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6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752400" y="2782800"/>
            <a:ext cx="5342400" cy="540000"/>
          </a:xfrm>
        </p:spPr>
        <p:txBody>
          <a:bodyPr anchor="t" anchorCtr="0">
            <a:normAutofit/>
          </a:bodyPr>
          <a:lstStyle>
            <a:lvl1pPr>
              <a:defRPr sz="1800" b="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genda/Chapter title</a:t>
            </a:r>
          </a:p>
        </p:txBody>
      </p:sp>
    </p:spTree>
    <p:extLst>
      <p:ext uri="{BB962C8B-B14F-4D97-AF65-F5344CB8AC3E}">
        <p14:creationId xmlns:p14="http://schemas.microsoft.com/office/powerpoint/2010/main" val="42827362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|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"/>
          <p:cNvSpPr/>
          <p:nvPr userDrawn="1"/>
        </p:nvSpPr>
        <p:spPr>
          <a:xfrm>
            <a:off x="514800" y="475200"/>
            <a:ext cx="5580000" cy="550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Bildplatzhalter"/>
          <p:cNvSpPr>
            <a:spLocks noGrp="1"/>
          </p:cNvSpPr>
          <p:nvPr>
            <p:ph type="pic" idx="1" hasCustomPrompt="1"/>
          </p:nvPr>
        </p:nvSpPr>
        <p:spPr>
          <a:xfrm>
            <a:off x="6098400" y="475200"/>
            <a:ext cx="5576400" cy="550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Image</a:t>
            </a:r>
          </a:p>
        </p:txBody>
      </p:sp>
      <p:sp>
        <p:nvSpPr>
          <p:cNvPr id="5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6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7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752400" y="2782800"/>
            <a:ext cx="5342400" cy="540000"/>
          </a:xfrm>
        </p:spPr>
        <p:txBody>
          <a:bodyPr anchor="t" anchorCtr="0">
            <a:normAutofit/>
          </a:bodyPr>
          <a:lstStyle>
            <a:lvl1pPr>
              <a:defRPr lang="de-DE" sz="1800" b="1" i="0" kern="1200" baseline="0" smtClean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de-DE"/>
              <a:t>Agenda/Chapter title</a:t>
            </a:r>
          </a:p>
        </p:txBody>
      </p:sp>
    </p:spTree>
    <p:extLst>
      <p:ext uri="{BB962C8B-B14F-4D97-AF65-F5344CB8AC3E}">
        <p14:creationId xmlns:p14="http://schemas.microsoft.com/office/powerpoint/2010/main" val="26134881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|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"/>
          <p:cNvSpPr/>
          <p:nvPr userDrawn="1"/>
        </p:nvSpPr>
        <p:spPr>
          <a:xfrm>
            <a:off x="6098400" y="475200"/>
            <a:ext cx="5576400" cy="550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Bildplatzhalter"/>
          <p:cNvSpPr>
            <a:spLocks noGrp="1"/>
          </p:cNvSpPr>
          <p:nvPr>
            <p:ph type="pic" idx="1" hasCustomPrompt="1"/>
          </p:nvPr>
        </p:nvSpPr>
        <p:spPr>
          <a:xfrm>
            <a:off x="514800" y="475200"/>
            <a:ext cx="5580000" cy="550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Image</a:t>
            </a:r>
          </a:p>
        </p:txBody>
      </p:sp>
      <p:sp>
        <p:nvSpPr>
          <p:cNvPr id="5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6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7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6347084" y="2782800"/>
            <a:ext cx="5342400" cy="540000"/>
          </a:xfrm>
        </p:spPr>
        <p:txBody>
          <a:bodyPr anchor="t" anchorCtr="0">
            <a:normAutofit/>
          </a:bodyPr>
          <a:lstStyle>
            <a:lvl1pPr>
              <a:defRPr lang="de-DE" sz="1800" b="1" i="0" kern="1200" baseline="0" smtClean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de-DE"/>
              <a:t>Agenda/Chapter title</a:t>
            </a:r>
          </a:p>
        </p:txBody>
      </p:sp>
    </p:spTree>
    <p:extLst>
      <p:ext uri="{BB962C8B-B14F-4D97-AF65-F5344CB8AC3E}">
        <p14:creationId xmlns:p14="http://schemas.microsoft.com/office/powerpoint/2010/main" val="2846998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| Full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5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6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Bildplatzhalter"/>
          <p:cNvSpPr>
            <a:spLocks noGrp="1"/>
          </p:cNvSpPr>
          <p:nvPr>
            <p:ph type="pic" sz="quarter" idx="13" hasCustomPrompt="1"/>
          </p:nvPr>
        </p:nvSpPr>
        <p:spPr>
          <a:xfrm>
            <a:off x="514800" y="475200"/>
            <a:ext cx="11160000" cy="55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Image</a:t>
            </a:r>
          </a:p>
        </p:txBody>
      </p:sp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752400" y="2782800"/>
            <a:ext cx="5342400" cy="540000"/>
          </a:xfrm>
        </p:spPr>
        <p:txBody>
          <a:bodyPr anchor="t" anchorCtr="0">
            <a:normAutofit/>
          </a:bodyPr>
          <a:lstStyle>
            <a:lvl1pPr>
              <a:defRPr sz="1800" b="1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Agenda/Chapter title</a:t>
            </a:r>
          </a:p>
        </p:txBody>
      </p:sp>
    </p:spTree>
    <p:extLst>
      <p:ext uri="{BB962C8B-B14F-4D97-AF65-F5344CB8AC3E}">
        <p14:creationId xmlns:p14="http://schemas.microsoft.com/office/powerpoint/2010/main" val="4086854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| Titl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"/>
          <p:cNvSpPr/>
          <p:nvPr userDrawn="1"/>
        </p:nvSpPr>
        <p:spPr>
          <a:xfrm>
            <a:off x="514800" y="475200"/>
            <a:ext cx="11160000" cy="550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5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6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752400" y="2782800"/>
            <a:ext cx="5342400" cy="540000"/>
          </a:xfrm>
        </p:spPr>
        <p:txBody>
          <a:bodyPr anchor="t" anchorCtr="0">
            <a:normAutofit/>
          </a:bodyPr>
          <a:lstStyle>
            <a:lvl1pPr>
              <a:defRPr sz="1800" b="1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Agenda/Chapter title</a:t>
            </a:r>
          </a:p>
        </p:txBody>
      </p:sp>
    </p:spTree>
    <p:extLst>
      <p:ext uri="{BB962C8B-B14F-4D97-AF65-F5344CB8AC3E}">
        <p14:creationId xmlns:p14="http://schemas.microsoft.com/office/powerpoint/2010/main" val="32154107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: Überschrift + Text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F7127F81-12E5-024C-92A9-6954E0773B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324195"/>
            <a:ext cx="11522076" cy="943200"/>
          </a:xfrm>
          <a:prstGeom prst="rect">
            <a:avLst/>
          </a:prstGeom>
        </p:spPr>
        <p:txBody>
          <a:bodyPr vert="horz" lIns="91440" tIns="45720" rIns="91440" bIns="45720" numCol="1" rtlCol="0" anchor="t">
            <a:noAutofit/>
          </a:bodyPr>
          <a:lstStyle>
            <a:lvl1pPr>
              <a:defRPr b="0" i="0" cap="all" baseline="0">
                <a:latin typeface="+mj-lt"/>
              </a:defRPr>
            </a:lvl1pPr>
          </a:lstStyle>
          <a:p>
            <a:r>
              <a:rPr lang="de-DE"/>
              <a:t>Edit Headline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D75B7DF4-7EC4-0E49-BABB-BEB5E5C09B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2" y="1274400"/>
            <a:ext cx="5400000" cy="5198400"/>
          </a:xfrm>
          <a:prstGeom prst="rect">
            <a:avLst/>
          </a:prstGeom>
        </p:spPr>
        <p:txBody>
          <a:bodyPr vert="horz" lIns="91440" tIns="45720" rIns="91440" bIns="45720" numCol="1" spcCol="360000" rtlCol="0" anchor="t">
            <a:noAutofit/>
          </a:bodyPr>
          <a:lstStyle>
            <a:lvl1pPr marL="230400" indent="-230400">
              <a:buFont typeface="Wingdings" pitchFamily="2" charset="2"/>
              <a:buChar char="§"/>
              <a:defRPr b="0" i="0">
                <a:latin typeface="+mn-lt"/>
              </a:defRPr>
            </a:lvl1pPr>
          </a:lstStyle>
          <a:p>
            <a:r>
              <a:rPr lang="de-DE"/>
              <a:t>Add </a:t>
            </a:r>
            <a:r>
              <a:rPr lang="de-DE" err="1"/>
              <a:t>tabl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diagram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C80F21-352F-4EF5-9A57-EEC119D08E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56363" y="1274400"/>
            <a:ext cx="5400000" cy="5198400"/>
          </a:xfrm>
        </p:spPr>
        <p:txBody>
          <a:bodyPr numCol="1"/>
          <a:lstStyle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4F7BE26-2E06-484C-BD1F-36D8CF107C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280B13A-90A9-474D-AF5B-EA478B290E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rch 2022  | KCD KMA KMNL |  Monthly Country Update Cal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19322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1056000" y="648000"/>
            <a:ext cx="10620000" cy="540000"/>
          </a:xfrm>
        </p:spPr>
        <p:txBody>
          <a:bodyPr vert="horz" lIns="90000" tIns="90000" rIns="90000" bIns="90000" rtlCol="0" anchor="t" anchorCtr="0">
            <a:normAutofit/>
          </a:bodyPr>
          <a:lstStyle>
            <a:lvl1pPr>
              <a:defRPr lang="de-DE" sz="20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de-DE"/>
              <a:t>Insert </a:t>
            </a:r>
            <a:r>
              <a:rPr lang="de-DE" err="1"/>
              <a:t>slide</a:t>
            </a:r>
            <a:r>
              <a:rPr lang="de-DE"/>
              <a:t> title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3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4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5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extplatzhalter 00"/>
          <p:cNvSpPr>
            <a:spLocks noGrp="1"/>
          </p:cNvSpPr>
          <p:nvPr>
            <p:ph type="body" sz="quarter" idx="13" hasCustomPrompt="1"/>
          </p:nvPr>
        </p:nvSpPr>
        <p:spPr>
          <a:xfrm>
            <a:off x="514800" y="648000"/>
            <a:ext cx="540000" cy="540000"/>
          </a:xfrm>
        </p:spPr>
        <p:txBody>
          <a:bodyPr tIns="90000" bIns="90000"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8" name="Textplatzhalter"/>
          <p:cNvSpPr>
            <a:spLocks noGrp="1"/>
          </p:cNvSpPr>
          <p:nvPr>
            <p:ph type="body" sz="quarter" idx="14" hasCustomPrompt="1"/>
          </p:nvPr>
        </p:nvSpPr>
        <p:spPr>
          <a:xfrm>
            <a:off x="514800" y="1443600"/>
            <a:ext cx="11160000" cy="540000"/>
          </a:xfrm>
        </p:spPr>
        <p:txBody>
          <a:bodyPr tIns="90000" bIns="90000"/>
          <a:lstStyle>
            <a:lvl1pPr marL="0" indent="0">
              <a:buNone/>
              <a:defRPr lang="de-DE" sz="2000" b="1" kern="1200" dirty="0" smtClean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Table Title</a:t>
            </a:r>
          </a:p>
        </p:txBody>
      </p:sp>
      <p:cxnSp>
        <p:nvCxnSpPr>
          <p:cNvPr id="11" name="Gerade Verbindung"/>
          <p:cNvCxnSpPr/>
          <p:nvPr userDrawn="1"/>
        </p:nvCxnSpPr>
        <p:spPr>
          <a:xfrm>
            <a:off x="514800" y="1110975"/>
            <a:ext cx="11160000" cy="0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12299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1056000" y="648000"/>
            <a:ext cx="10620000" cy="540000"/>
          </a:xfrm>
        </p:spPr>
        <p:txBody>
          <a:bodyPr vert="horz" lIns="90000" tIns="90000" rIns="90000" bIns="90000" rtlCol="0" anchor="t" anchorCtr="0">
            <a:normAutofit/>
          </a:bodyPr>
          <a:lstStyle>
            <a:lvl1pPr>
              <a:defRPr lang="de-DE" sz="24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de-DE"/>
              <a:t>Insert </a:t>
            </a:r>
            <a:r>
              <a:rPr lang="de-DE" err="1"/>
              <a:t>slide</a:t>
            </a:r>
            <a:r>
              <a:rPr lang="de-DE"/>
              <a:t> title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3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4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5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extplatzhalter 00"/>
          <p:cNvSpPr>
            <a:spLocks noGrp="1"/>
          </p:cNvSpPr>
          <p:nvPr>
            <p:ph type="body" sz="quarter" idx="13" hasCustomPrompt="1"/>
          </p:nvPr>
        </p:nvSpPr>
        <p:spPr>
          <a:xfrm>
            <a:off x="514800" y="648000"/>
            <a:ext cx="540000" cy="540000"/>
          </a:xfrm>
        </p:spPr>
        <p:txBody>
          <a:bodyPr tIns="90000" bIns="90000"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9" name="Diagrammplatzhalter"/>
          <p:cNvSpPr>
            <a:spLocks noGrp="1"/>
          </p:cNvSpPr>
          <p:nvPr>
            <p:ph type="chart" sz="quarter" idx="14"/>
          </p:nvPr>
        </p:nvSpPr>
        <p:spPr>
          <a:xfrm>
            <a:off x="514800" y="1476000"/>
            <a:ext cx="11160000" cy="450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</a:p>
        </p:txBody>
      </p:sp>
      <p:cxnSp>
        <p:nvCxnSpPr>
          <p:cNvPr id="12" name="Gerade Verbindung"/>
          <p:cNvCxnSpPr/>
          <p:nvPr userDrawn="1"/>
        </p:nvCxnSpPr>
        <p:spPr>
          <a:xfrm>
            <a:off x="514800" y="1110975"/>
            <a:ext cx="11160000" cy="0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38814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1056000" y="648000"/>
            <a:ext cx="10620000" cy="540000"/>
          </a:xfrm>
        </p:spPr>
        <p:txBody>
          <a:bodyPr vert="horz" lIns="90000" tIns="90000" rIns="90000" bIns="90000" rtlCol="0" anchor="t" anchorCtr="0">
            <a:normAutofit/>
          </a:bodyPr>
          <a:lstStyle>
            <a:lvl1pPr>
              <a:defRPr lang="de-DE" sz="24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de-DE"/>
              <a:t>Insert </a:t>
            </a:r>
            <a:r>
              <a:rPr lang="de-DE" err="1"/>
              <a:t>slide</a:t>
            </a:r>
            <a:r>
              <a:rPr lang="de-DE"/>
              <a:t> title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3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4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5" name="Foliennummernplatzhalt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0B150-AA60-41FF-BEB4-0B75FF2A9E06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extplatzhalter 00"/>
          <p:cNvSpPr>
            <a:spLocks noGrp="1"/>
          </p:cNvSpPr>
          <p:nvPr>
            <p:ph type="body" sz="quarter" idx="13" hasCustomPrompt="1"/>
          </p:nvPr>
        </p:nvSpPr>
        <p:spPr>
          <a:xfrm>
            <a:off x="516000" y="648000"/>
            <a:ext cx="540000" cy="540000"/>
          </a:xfrm>
        </p:spPr>
        <p:txBody>
          <a:bodyPr tIns="90000" bIns="90000"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8" name="Tabellenplatzhalter 7"/>
          <p:cNvSpPr>
            <a:spLocks noGrp="1"/>
          </p:cNvSpPr>
          <p:nvPr>
            <p:ph type="tbl" sz="quarter" idx="15"/>
          </p:nvPr>
        </p:nvSpPr>
        <p:spPr>
          <a:xfrm>
            <a:off x="514800" y="1476000"/>
            <a:ext cx="11160000" cy="450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</a:p>
        </p:txBody>
      </p:sp>
      <p:cxnSp>
        <p:nvCxnSpPr>
          <p:cNvPr id="11" name="Gerade Verbindung"/>
          <p:cNvCxnSpPr/>
          <p:nvPr userDrawn="1"/>
        </p:nvCxnSpPr>
        <p:spPr>
          <a:xfrm>
            <a:off x="514800" y="1110975"/>
            <a:ext cx="11160000" cy="0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7409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/>
          <p:cNvSpPr/>
          <p:nvPr userDrawn="1"/>
        </p:nvSpPr>
        <p:spPr>
          <a:xfrm>
            <a:off x="514800" y="475200"/>
            <a:ext cx="11160000" cy="540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720000" y="2088000"/>
            <a:ext cx="5400000" cy="432000"/>
          </a:xfrm>
        </p:spPr>
        <p:txBody>
          <a:bodyPr/>
          <a:lstStyle>
            <a:lvl1pPr>
              <a:defRPr lang="de-DE" sz="1800" b="1" i="0" kern="1200" baseline="0" smtClean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title</a:t>
            </a:r>
          </a:p>
        </p:txBody>
      </p:sp>
      <p:sp>
        <p:nvSpPr>
          <p:cNvPr id="3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4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5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2647000"/>
            <a:ext cx="5400000" cy="2592000"/>
          </a:xfrm>
        </p:spPr>
        <p:txBody>
          <a:bodyPr/>
          <a:lstStyle>
            <a:lvl1pPr marL="0" indent="0">
              <a:buNone/>
              <a:defRPr lang="de-DE" sz="1800" b="0" i="0" kern="1200" baseline="0" dirty="0" smtClean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200" y="5295600"/>
            <a:ext cx="1066892" cy="469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0859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"/>
          <p:cNvSpPr/>
          <p:nvPr userDrawn="1"/>
        </p:nvSpPr>
        <p:spPr>
          <a:xfrm>
            <a:off x="514800" y="475200"/>
            <a:ext cx="11160000" cy="5400000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720000" y="2088000"/>
            <a:ext cx="5400000" cy="432000"/>
          </a:xfrm>
        </p:spPr>
        <p:txBody>
          <a:bodyPr/>
          <a:lstStyle>
            <a:lvl1pPr>
              <a:defRPr lang="de-DE" sz="1800" b="1" i="0" kern="1200" baseline="0" smtClean="0">
                <a:solidFill>
                  <a:schemeClr val="tx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title</a:t>
            </a:r>
          </a:p>
        </p:txBody>
      </p:sp>
      <p:sp>
        <p:nvSpPr>
          <p:cNvPr id="3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06.2021</a:t>
            </a:r>
          </a:p>
        </p:txBody>
      </p:sp>
      <p:sp>
        <p:nvSpPr>
          <p:cNvPr id="4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sellschafterversammlung</a:t>
            </a:r>
          </a:p>
        </p:txBody>
      </p:sp>
      <p:sp>
        <p:nvSpPr>
          <p:cNvPr id="5" name="Foliennummernplatzhalter"/>
          <p:cNvSpPr>
            <a:spLocks noGrp="1"/>
          </p:cNvSpPr>
          <p:nvPr>
            <p:ph type="sldNum" sz="quarter" idx="12"/>
          </p:nvPr>
        </p:nvSpPr>
        <p:spPr>
          <a:xfrm>
            <a:off x="514800" y="6258896"/>
            <a:ext cx="588818" cy="230400"/>
          </a:xfrm>
        </p:spPr>
        <p:txBody>
          <a:bodyPr/>
          <a:lstStyle/>
          <a:p>
            <a:fld id="{32C0B150-AA60-41FF-BEB4-0B75FF2A9E0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2647000"/>
            <a:ext cx="5400000" cy="2592000"/>
          </a:xfrm>
        </p:spPr>
        <p:txBody>
          <a:bodyPr/>
          <a:lstStyle>
            <a:lvl1pPr marL="0" indent="0">
              <a:buNone/>
              <a:defRPr lang="de-DE" sz="1800" b="0" i="0" kern="1200" baseline="0" dirty="0" smtClean="0">
                <a:solidFill>
                  <a:schemeClr val="tx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39659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: Überschrift +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E6C5B266-9C7E-8343-BB80-EB29AA7299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800" y="324000"/>
            <a:ext cx="5400000" cy="943200"/>
          </a:xfrm>
          <a:prstGeom prst="rect">
            <a:avLst/>
          </a:prstGeom>
        </p:spPr>
        <p:txBody>
          <a:bodyPr vert="horz" lIns="91440" tIns="45720" rIns="91440" bIns="45720" numCol="1" rtlCol="0" anchor="t">
            <a:noAutofit/>
          </a:bodyPr>
          <a:lstStyle>
            <a:lvl1pPr>
              <a:defRPr b="0" i="0" cap="all" baseline="0">
                <a:latin typeface="+mj-lt"/>
              </a:defRPr>
            </a:lvl1pPr>
          </a:lstStyle>
          <a:p>
            <a:r>
              <a:rPr lang="de-DE"/>
              <a:t>Edit Headlin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8B7670D-AF69-40FC-A2E0-5876ED08615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34963" y="1274400"/>
            <a:ext cx="5400000" cy="5198400"/>
          </a:xfrm>
        </p:spPr>
        <p:txBody>
          <a:bodyPr numCol="1"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Add table or diagram by clicking on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59895BA7-F4BE-3840-9618-4ED7FF8738E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numCol="1"/>
          <a:lstStyle/>
          <a:p>
            <a:r>
              <a:rPr lang="de-DE"/>
              <a:t>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57297C7-8091-EB40-8B75-4F38366EDF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D693422-AFD1-419B-8899-9A852EC7FD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rch 2022  | KCD KMA KMNL |  Monthly Country Update Cal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2339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4: Überschrif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3B866A09-6D9C-7440-87FB-A8856BDEA3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324000"/>
            <a:ext cx="11522075" cy="9432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b="0" i="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Edit Headline [</a:t>
            </a:r>
            <a:r>
              <a:rPr lang="de-DE" err="1"/>
              <a:t>Textbox</a:t>
            </a:r>
            <a:r>
              <a:rPr lang="de-DE"/>
              <a:t> Split </a:t>
            </a:r>
            <a:r>
              <a:rPr lang="de-DE" err="1"/>
              <a:t>into</a:t>
            </a:r>
            <a:r>
              <a:rPr lang="de-DE"/>
              <a:t> 2 Colums / Spalten]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862BA42-4425-0143-81C1-89FE7A5AFE6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0326" y="1267200"/>
            <a:ext cx="11522075" cy="5198400"/>
          </a:xfrm>
          <a:prstGeom prst="rect">
            <a:avLst/>
          </a:prstGeom>
        </p:spPr>
        <p:txBody>
          <a:bodyPr numCol="2" spcCol="720000"/>
          <a:lstStyle>
            <a:lvl1pPr>
              <a:defRPr b="0" i="0">
                <a:latin typeface="+mn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/>
              <a:t>Add </a:t>
            </a:r>
            <a:r>
              <a:rPr lang="de-DE" err="1"/>
              <a:t>tabl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diagram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B33C7F-6354-3C46-AA4F-2768474DF8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2453993-8942-4737-BF74-37FD3F59A9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rch 2022  | KCD KMA KMNL |  Monthly Country Update Cal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91627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out columns /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2D2525-3CDC-40EF-BC20-3569C1F157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Edit Headline [</a:t>
            </a:r>
            <a:r>
              <a:rPr lang="de-DE" err="1"/>
              <a:t>Textbox</a:t>
            </a:r>
            <a:r>
              <a:rPr lang="de-DE"/>
              <a:t> </a:t>
            </a:r>
            <a:r>
              <a:rPr lang="de-DE" err="1"/>
              <a:t>without</a:t>
            </a:r>
            <a:r>
              <a:rPr lang="de-DE"/>
              <a:t> Colums / Spalten]</a:t>
            </a:r>
            <a:endParaRPr lang="en-US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226485E-A639-476C-BE48-6480181EDA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BDF0F71-6464-4306-9A5B-5CC6CF51A78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0326" y="1267200"/>
            <a:ext cx="11522075" cy="5198400"/>
          </a:xfrm>
          <a:prstGeom prst="rect">
            <a:avLst/>
          </a:prstGeom>
        </p:spPr>
        <p:txBody>
          <a:bodyPr numCol="1" spcCol="720000"/>
          <a:lstStyle>
            <a:lvl1pPr>
              <a:defRPr b="0" i="0">
                <a:latin typeface="+mn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/>
              <a:t>Add </a:t>
            </a:r>
            <a:r>
              <a:rPr lang="de-DE" err="1"/>
              <a:t>table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diagram</a:t>
            </a:r>
            <a:r>
              <a:rPr lang="de-DE"/>
              <a:t> by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4BC57C0-6357-4E5B-BC6B-DE18278050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rch 2022  | KCD KMA KMNL |  Monthly Country Update Cal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8789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: Überschrift + 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7CF9C87E-E0C7-B442-AF76-714EBDA383A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7793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Kl Bliss Regular" panose="02010006030000020004" pitchFamily="50" charset="0"/>
              </a:defRPr>
            </a:lvl1pPr>
          </a:lstStyle>
          <a:p>
            <a:r>
              <a:rPr lang="de-DE"/>
              <a:t>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on </a:t>
            </a:r>
            <a:r>
              <a:rPr lang="de-DE" err="1"/>
              <a:t>icon</a:t>
            </a:r>
            <a:endParaRPr lang="de-DE"/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774A0B25-BD87-944D-92DC-C9CDCB8134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362310"/>
            <a:ext cx="5582758" cy="5963256"/>
          </a:xfrm>
          <a:prstGeom prst="rect">
            <a:avLst/>
          </a:prstGeom>
          <a:effectLst>
            <a:outerShdw blurRad="457200" sx="102000" sy="102000" algn="ctr" rotWithShape="0">
              <a:schemeClr val="accent3">
                <a:alpha val="40000"/>
              </a:schemeClr>
            </a:outerShdw>
          </a:effectLst>
        </p:spPr>
        <p:txBody>
          <a:bodyPr vert="horz" lIns="54000" tIns="45720" rIns="91440" bIns="45720" numCol="1" rtlCol="0" anchor="ctr">
            <a:noAutofit/>
          </a:bodyPr>
          <a:lstStyle>
            <a:lvl1pPr>
              <a:defRPr sz="5400" b="0" i="0" cap="all" baseline="0">
                <a:solidFill>
                  <a:schemeClr val="bg1"/>
                </a:solidFill>
                <a:latin typeface="Kl Bliss Regular" panose="02010006030000020004" pitchFamily="50" charset="0"/>
              </a:defRPr>
            </a:lvl1pPr>
          </a:lstStyle>
          <a:p>
            <a:r>
              <a:rPr lang="de-DE"/>
              <a:t>Edit Headline</a:t>
            </a:r>
          </a:p>
        </p:txBody>
      </p:sp>
    </p:spTree>
    <p:extLst>
      <p:ext uri="{BB962C8B-B14F-4D97-AF65-F5344CB8AC3E}">
        <p14:creationId xmlns:p14="http://schemas.microsoft.com/office/powerpoint/2010/main" val="4036151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9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37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image" Target="../media/image1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D3EDAC6-CF32-43F9-B855-5F65BFA146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24030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47" imgH="348" progId="TCLayout.ActiveDocument.1">
                  <p:embed/>
                </p:oleObj>
              </mc:Choice>
              <mc:Fallback>
                <p:oleObj name="think-cell Folie" r:id="rId15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D3EDAC6-CF32-43F9-B855-5F65BFA146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7D9214B-F5F5-4A7B-8FCE-71F171FE276F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Kl Bliss Regular" panose="02010006030000020004" pitchFamily="50" charset="0"/>
              <a:ea typeface="+mj-ea"/>
              <a:cs typeface="+mj-cs"/>
              <a:sym typeface="Kl Bliss Regular" panose="02010006030000020004" pitchFamily="50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A25FE8-B8A0-4708-9F56-696B994B0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24000"/>
            <a:ext cx="11520000" cy="9432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1D74BF-0BF4-47E7-9336-34FEF2EB68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2" y="1274400"/>
            <a:ext cx="11520000" cy="5198400"/>
          </a:xfrm>
          <a:prstGeom prst="rect">
            <a:avLst/>
          </a:prstGeom>
        </p:spPr>
        <p:txBody>
          <a:bodyPr vert="horz" lIns="91440" tIns="45720" rIns="91440" bIns="45720" numCol="2" spcCol="720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EE3DC5-D3A8-4953-8033-8A3CA5DB17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D771576-A3A1-AB43-95F2-3EC853EB01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rch 2022  | KCD KMA KMNL |  Monthly Country Update Cal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9744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613">
          <p15:clr>
            <a:srgbClr val="F26B43"/>
          </p15:clr>
        </p15:guide>
        <p15:guide id="3" pos="4067">
          <p15:clr>
            <a:srgbClr val="F26B43"/>
          </p15:clr>
        </p15:guide>
        <p15:guide id="4" pos="211">
          <p15:clr>
            <a:srgbClr val="F26B43"/>
          </p15:clr>
        </p15:guide>
        <p15:guide id="5" pos="7469">
          <p15:clr>
            <a:srgbClr val="F26B43"/>
          </p15:clr>
        </p15:guide>
        <p15:guide id="6" orient="horz" pos="391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orient="horz" pos="3521">
          <p15:clr>
            <a:srgbClr val="F26B43"/>
          </p15:clr>
        </p15:guide>
        <p15:guide id="9" orient="horz" pos="40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D3EDAC6-CF32-43F9-B855-5F65BFA146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24030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47" imgH="348" progId="TCLayout.ActiveDocument.1">
                  <p:embed/>
                </p:oleObj>
              </mc:Choice>
              <mc:Fallback>
                <p:oleObj name="think-cell Folie" r:id="rId15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D3EDAC6-CF32-43F9-B855-5F65BFA146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7D9214B-F5F5-4A7B-8FCE-71F171FE276F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Kl Bliss Regular" panose="02010006030000020004" pitchFamily="50" charset="0"/>
              <a:ea typeface="+mj-ea"/>
              <a:cs typeface="+mj-cs"/>
              <a:sym typeface="Kl Bliss Regular" panose="02010006030000020004" pitchFamily="50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A25FE8-B8A0-4708-9F56-696B994B0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24000"/>
            <a:ext cx="11520000" cy="9432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1D74BF-0BF4-47E7-9336-34FEF2EB68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2" y="1274400"/>
            <a:ext cx="11520000" cy="5198400"/>
          </a:xfrm>
          <a:prstGeom prst="rect">
            <a:avLst/>
          </a:prstGeom>
        </p:spPr>
        <p:txBody>
          <a:bodyPr vert="horz" lIns="91440" tIns="45720" rIns="91440" bIns="45720" numCol="2" spcCol="720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EE3DC5-D3A8-4953-8033-8A3CA5DB17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D771576-A3A1-AB43-95F2-3EC853EB01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ay 2022  | KCD KMA KMNL |  Monthly Country Update Call</a:t>
            </a:r>
            <a:endParaRPr lang="en-GB" dirty="0"/>
          </a:p>
        </p:txBody>
      </p:sp>
      <p:pic>
        <p:nvPicPr>
          <p:cNvPr id="9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924C82B2-8AA2-456D-9EFD-23BF4D2F4C7C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8298" y="6511207"/>
            <a:ext cx="1316664" cy="31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393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613">
          <p15:clr>
            <a:srgbClr val="F26B43"/>
          </p15:clr>
        </p15:guide>
        <p15:guide id="3" pos="4067">
          <p15:clr>
            <a:srgbClr val="F26B43"/>
          </p15:clr>
        </p15:guide>
        <p15:guide id="4" pos="211">
          <p15:clr>
            <a:srgbClr val="F26B43"/>
          </p15:clr>
        </p15:guide>
        <p15:guide id="5" pos="7469">
          <p15:clr>
            <a:srgbClr val="F26B43"/>
          </p15:clr>
        </p15:guide>
        <p15:guide id="6" orient="horz" pos="391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orient="horz" pos="3521">
          <p15:clr>
            <a:srgbClr val="F26B43"/>
          </p15:clr>
        </p15:guide>
        <p15:guide id="9" orient="horz" pos="40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BAA75D54-C334-4B64-A591-903984610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33332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47" imgH="348" progId="TCLayout.ActiveDocument.1">
                  <p:embed/>
                </p:oleObj>
              </mc:Choice>
              <mc:Fallback>
                <p:oleObj name="think-cell Folie" r:id="rId17" imgW="347" imgH="34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BAA75D54-C334-4B64-A591-903984610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FE267D67-817E-4B69-9D74-1D7F4BA50F4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Kl Bliss Regular" panose="02010006030000020004" pitchFamily="50" charset="0"/>
              <a:ea typeface="+mj-ea"/>
              <a:cs typeface="+mj-cs"/>
              <a:sym typeface="Kl Bliss Regular" panose="02010006030000020004" pitchFamily="50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A25FE8-B8A0-4708-9F56-696B994B0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24000"/>
            <a:ext cx="11520000" cy="9432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1D74BF-0BF4-47E7-9336-34FEF2EB68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2" y="1274400"/>
            <a:ext cx="11520000" cy="5198400"/>
          </a:xfrm>
          <a:prstGeom prst="rect">
            <a:avLst/>
          </a:prstGeom>
        </p:spPr>
        <p:txBody>
          <a:bodyPr vert="horz" lIns="91440" tIns="45720" rIns="91440" bIns="45720" numCol="2" spcCol="720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EE3DC5-D3A8-4953-8033-8A3CA5DB17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80000"/>
            <a:ext cx="423260" cy="37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algn="r"/>
            <a:fld id="{97B5D6F4-5899-4B75-B7B0-EBB32E782A5F}" type="slidenum">
              <a:rPr lang="en-GB" smtClean="0"/>
              <a:pPr algn="r"/>
              <a:t>‹Nr.›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D771576-A3A1-AB43-95F2-3EC853EB01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964" y="6480000"/>
            <a:ext cx="5756400" cy="374400"/>
          </a:xfrm>
          <a:prstGeom prst="rect">
            <a:avLst/>
          </a:prstGeom>
        </p:spPr>
        <p:txBody>
          <a:bodyPr vert="horz" lIns="10080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Month 2022  |  </a:t>
            </a:r>
            <a:r>
              <a:rPr lang="en-GB" dirty="0" err="1"/>
              <a:t>Klöckner</a:t>
            </a:r>
            <a:r>
              <a:rPr lang="en-GB" dirty="0"/>
              <a:t> &amp; Co SE  |  Name of the presentation</a:t>
            </a:r>
          </a:p>
        </p:txBody>
      </p: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940CAD3A-4F36-4E91-9548-D996335371EE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Kl Bliss Regular" panose="02010006030000020004" pitchFamily="50" charset="0"/>
              <a:ea typeface="+mj-ea"/>
              <a:cs typeface="+mj-cs"/>
              <a:sym typeface="Kl Bliss Regular" panose="0201000603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3909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613">
          <p15:clr>
            <a:srgbClr val="F26B43"/>
          </p15:clr>
        </p15:guide>
        <p15:guide id="3" pos="4067">
          <p15:clr>
            <a:srgbClr val="F26B43"/>
          </p15:clr>
        </p15:guide>
        <p15:guide id="4" pos="211">
          <p15:clr>
            <a:srgbClr val="F26B43"/>
          </p15:clr>
        </p15:guide>
        <p15:guide id="5" pos="7469">
          <p15:clr>
            <a:srgbClr val="F26B43"/>
          </p15:clr>
        </p15:guide>
        <p15:guide id="6" orient="horz" pos="391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orient="horz" pos="3521">
          <p15:clr>
            <a:srgbClr val="F26B43"/>
          </p15:clr>
        </p15:guide>
        <p15:guide id="9" orient="horz" pos="40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"/>
          <p:cNvSpPr>
            <a:spLocks noGrp="1"/>
          </p:cNvSpPr>
          <p:nvPr>
            <p:ph type="title"/>
          </p:nvPr>
        </p:nvSpPr>
        <p:spPr>
          <a:xfrm>
            <a:off x="514800" y="648000"/>
            <a:ext cx="11160000" cy="54000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de-DE"/>
              <a:t>Insert </a:t>
            </a:r>
            <a:r>
              <a:rPr lang="de-DE" err="1"/>
              <a:t>slide</a:t>
            </a:r>
            <a:r>
              <a:rPr lang="de-DE"/>
              <a:t> title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3" name="Textplatzhalter"/>
          <p:cNvSpPr>
            <a:spLocks noGrp="1"/>
          </p:cNvSpPr>
          <p:nvPr>
            <p:ph type="body" idx="1"/>
          </p:nvPr>
        </p:nvSpPr>
        <p:spPr>
          <a:xfrm>
            <a:off x="514800" y="1476000"/>
            <a:ext cx="11160000" cy="450000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1</a:t>
            </a:r>
          </a:p>
          <a:p>
            <a:pPr lvl="1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2</a:t>
            </a:r>
          </a:p>
          <a:p>
            <a:pPr lvl="2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3</a:t>
            </a:r>
          </a:p>
          <a:p>
            <a:pPr lvl="3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4</a:t>
            </a:r>
          </a:p>
          <a:p>
            <a:pPr lvl="4"/>
            <a:r>
              <a:rPr lang="de-DE"/>
              <a:t>Insert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5</a:t>
            </a:r>
          </a:p>
        </p:txBody>
      </p:sp>
      <p:sp>
        <p:nvSpPr>
          <p:cNvPr id="4" name="Datumsplatzhalter"/>
          <p:cNvSpPr>
            <a:spLocks noGrp="1"/>
          </p:cNvSpPr>
          <p:nvPr>
            <p:ph type="dt" sz="half" idx="2"/>
          </p:nvPr>
        </p:nvSpPr>
        <p:spPr>
          <a:xfrm>
            <a:off x="7502537" y="6291296"/>
            <a:ext cx="828000" cy="230400"/>
          </a:xfrm>
          <a:prstGeom prst="rect">
            <a:avLst/>
          </a:prstGeom>
        </p:spPr>
        <p:txBody>
          <a:bodyPr vert="horz" lIns="36000" tIns="45720" rIns="91440" bIns="45720" rtlCol="0" anchor="ctr"/>
          <a:lstStyle>
            <a:lvl1pPr algn="l">
              <a:defRPr lang="de-DE" sz="10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21.06.2021</a:t>
            </a:r>
            <a:endParaRPr lang="de-AT"/>
          </a:p>
        </p:txBody>
      </p:sp>
      <p:sp>
        <p:nvSpPr>
          <p:cNvPr id="5" name="Fußzeilenplatzhalter"/>
          <p:cNvSpPr>
            <a:spLocks noGrp="1"/>
          </p:cNvSpPr>
          <p:nvPr>
            <p:ph type="ftr" sz="quarter" idx="3"/>
          </p:nvPr>
        </p:nvSpPr>
        <p:spPr>
          <a:xfrm>
            <a:off x="3860286" y="6291296"/>
            <a:ext cx="3600000" cy="230400"/>
          </a:xfrm>
          <a:prstGeom prst="rect">
            <a:avLst/>
          </a:prstGeom>
        </p:spPr>
        <p:txBody>
          <a:bodyPr vert="horz" lIns="91440" tIns="45720" rIns="36000" bIns="45720" rtlCol="0" anchor="ctr"/>
          <a:lstStyle>
            <a:lvl1pPr algn="r">
              <a:defRPr sz="10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Gesellschafterversammlung</a:t>
            </a:r>
          </a:p>
        </p:txBody>
      </p:sp>
      <p:sp>
        <p:nvSpPr>
          <p:cNvPr id="6" name="Foliennummernplatzhalter"/>
          <p:cNvSpPr>
            <a:spLocks noGrp="1"/>
          </p:cNvSpPr>
          <p:nvPr>
            <p:ph type="sldNum" sz="quarter" idx="4"/>
          </p:nvPr>
        </p:nvSpPr>
        <p:spPr>
          <a:xfrm>
            <a:off x="514800" y="6258896"/>
            <a:ext cx="588818" cy="230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2C0B150-AA60-41FF-BEB4-0B75FF2A9E06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3" name="Gerader Verbinder"/>
          <p:cNvCxnSpPr/>
          <p:nvPr userDrawn="1"/>
        </p:nvCxnSpPr>
        <p:spPr>
          <a:xfrm>
            <a:off x="7481707" y="6362424"/>
            <a:ext cx="0" cy="115200"/>
          </a:xfrm>
          <a:prstGeom prst="line">
            <a:avLst/>
          </a:prstGeom>
          <a:ln w="9525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"/>
          <p:cNvCxnSpPr/>
          <p:nvPr userDrawn="1"/>
        </p:nvCxnSpPr>
        <p:spPr>
          <a:xfrm>
            <a:off x="514800" y="6237312"/>
            <a:ext cx="11160000" cy="0"/>
          </a:xfrm>
          <a:prstGeom prst="line">
            <a:avLst/>
          </a:prstGeom>
          <a:ln w="1270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0590" y="6093296"/>
            <a:ext cx="119056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633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</p:sldLayoutIdLst>
  <p:hf hdr="0"/>
  <p:txStyles>
    <p:titleStyle>
      <a:lvl1pPr marL="0" algn="l" defTabSz="914400" rtl="0" eaLnBrk="1" latinLnBrk="0" hangingPunct="1">
        <a:lnSpc>
          <a:spcPct val="90000"/>
        </a:lnSpc>
        <a:spcBef>
          <a:spcPct val="0"/>
        </a:spcBef>
        <a:buNone/>
        <a:defRPr lang="de-DE" sz="2400" b="1" kern="1200" dirty="0">
          <a:solidFill>
            <a:srgbClr val="00000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5" pos="3704">
          <p15:clr>
            <a:srgbClr val="F26B43"/>
          </p15:clr>
        </p15:guide>
        <p15:guide id="6" pos="7378">
          <p15:clr>
            <a:srgbClr val="F26B43"/>
          </p15:clr>
        </p15:guide>
        <p15:guide id="7" pos="30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DC80E49-9F56-4923-82C7-5EC920A386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defPPr/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B5D6F4-5899-4B75-B7B0-EBB32E782A5F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CA0237"/>
                </a:solidFill>
                <a:effectLst/>
                <a:uLnTx/>
                <a:uFillTx/>
                <a:latin typeface="Kl Bliss Regula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CA0237"/>
              </a:solidFill>
              <a:effectLst/>
              <a:uLnTx/>
              <a:uFillTx/>
              <a:latin typeface="Kl Bliss Regular"/>
              <a:ea typeface="+mn-ea"/>
              <a:cs typeface="+mn-cs"/>
            </a:endParaRPr>
          </a:p>
        </p:txBody>
      </p:sp>
      <p:pic>
        <p:nvPicPr>
          <p:cNvPr id="3" name="Grafik 2" descr="Ein Bild, das Text enthält.&#10;&#10;Automatisch generierte Beschreibung">
            <a:extLst>
              <a:ext uri="{FF2B5EF4-FFF2-40B4-BE49-F238E27FC236}">
                <a16:creationId xmlns:a16="http://schemas.microsoft.com/office/drawing/2014/main" id="{1CC72006-3180-71AF-3F3B-8FD30787AD3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0525" y="5466377"/>
            <a:ext cx="2023415" cy="48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654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oCE3bqpRhD1C8tUvL9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maAeaBt_UMeIj7Ft9C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maAeaBt_UMeIj7Ft9C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d8FCNriiiyHnwdNto1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ENorQzwHYNRnLBLgqn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Q._dT4a.6KmIceDCEIcw"/>
</p:tagLst>
</file>

<file path=ppt/theme/theme1.xml><?xml version="1.0" encoding="utf-8"?>
<a:theme xmlns:a="http://schemas.openxmlformats.org/drawingml/2006/main" name="1_Office Theme">
  <a:themeElements>
    <a:clrScheme name="Kloeckner Master Color">
      <a:dk1>
        <a:srgbClr val="000000"/>
      </a:dk1>
      <a:lt1>
        <a:srgbClr val="FFFFFF"/>
      </a:lt1>
      <a:dk2>
        <a:srgbClr val="CA0237"/>
      </a:dk2>
      <a:lt2>
        <a:srgbClr val="E6E6E6"/>
      </a:lt2>
      <a:accent1>
        <a:srgbClr val="CA0237"/>
      </a:accent1>
      <a:accent2>
        <a:srgbClr val="192034"/>
      </a:accent2>
      <a:accent3>
        <a:srgbClr val="464D5F"/>
      </a:accent3>
      <a:accent4>
        <a:srgbClr val="616C85"/>
      </a:accent4>
      <a:accent5>
        <a:srgbClr val="8B92A9"/>
      </a:accent5>
      <a:accent6>
        <a:srgbClr val="DFE3EC"/>
      </a:accent6>
      <a:hlink>
        <a:srgbClr val="CA0237"/>
      </a:hlink>
      <a:folHlink>
        <a:srgbClr val="F15B5B"/>
      </a:folHlink>
    </a:clrScheme>
    <a:fontScheme name="Custom 1">
      <a:majorFont>
        <a:latin typeface="Kl Bliss Regular"/>
        <a:ea typeface=""/>
        <a:cs typeface=""/>
      </a:majorFont>
      <a:minorFont>
        <a:latin typeface="Kl Blis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Kloeckner Master Color">
      <a:dk1>
        <a:srgbClr val="000000"/>
      </a:dk1>
      <a:lt1>
        <a:srgbClr val="FFFFFF"/>
      </a:lt1>
      <a:dk2>
        <a:srgbClr val="CA0237"/>
      </a:dk2>
      <a:lt2>
        <a:srgbClr val="E6E6E6"/>
      </a:lt2>
      <a:accent1>
        <a:srgbClr val="CA0237"/>
      </a:accent1>
      <a:accent2>
        <a:srgbClr val="192034"/>
      </a:accent2>
      <a:accent3>
        <a:srgbClr val="464D5F"/>
      </a:accent3>
      <a:accent4>
        <a:srgbClr val="616C85"/>
      </a:accent4>
      <a:accent5>
        <a:srgbClr val="8B92A9"/>
      </a:accent5>
      <a:accent6>
        <a:srgbClr val="DFE3EC"/>
      </a:accent6>
      <a:hlink>
        <a:srgbClr val="CA0237"/>
      </a:hlink>
      <a:folHlink>
        <a:srgbClr val="F15B5B"/>
      </a:folHlink>
    </a:clrScheme>
    <a:fontScheme name="Custom 1">
      <a:majorFont>
        <a:latin typeface="Kl Bliss Regular"/>
        <a:ea typeface=""/>
        <a:cs typeface=""/>
      </a:majorFont>
      <a:minorFont>
        <a:latin typeface="Kl Blis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Kloeckner Master Color">
      <a:dk1>
        <a:srgbClr val="000000"/>
      </a:dk1>
      <a:lt1>
        <a:srgbClr val="FFFFFF"/>
      </a:lt1>
      <a:dk2>
        <a:srgbClr val="CA0237"/>
      </a:dk2>
      <a:lt2>
        <a:srgbClr val="E6E6E6"/>
      </a:lt2>
      <a:accent1>
        <a:srgbClr val="CA0237"/>
      </a:accent1>
      <a:accent2>
        <a:srgbClr val="192034"/>
      </a:accent2>
      <a:accent3>
        <a:srgbClr val="464D5F"/>
      </a:accent3>
      <a:accent4>
        <a:srgbClr val="616C85"/>
      </a:accent4>
      <a:accent5>
        <a:srgbClr val="8B92A9"/>
      </a:accent5>
      <a:accent6>
        <a:srgbClr val="DFE3EC"/>
      </a:accent6>
      <a:hlink>
        <a:srgbClr val="CA0237"/>
      </a:hlink>
      <a:folHlink>
        <a:srgbClr val="F15B5B"/>
      </a:folHlink>
    </a:clrScheme>
    <a:fontScheme name="Custom 1">
      <a:majorFont>
        <a:latin typeface="Kl Bliss Regular"/>
        <a:ea typeface=""/>
        <a:cs typeface=""/>
      </a:majorFont>
      <a:minorFont>
        <a:latin typeface="Kl Blis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Benutzerdefiniert 1">
      <a:dk1>
        <a:sysClr val="windowText" lastClr="000000"/>
      </a:dk1>
      <a:lt1>
        <a:sysClr val="window" lastClr="FFFFFF"/>
      </a:lt1>
      <a:dk2>
        <a:srgbClr val="003472"/>
      </a:dk2>
      <a:lt2>
        <a:srgbClr val="9C9D9D"/>
      </a:lt2>
      <a:accent1>
        <a:srgbClr val="CA0237"/>
      </a:accent1>
      <a:accent2>
        <a:srgbClr val="003472"/>
      </a:accent2>
      <a:accent3>
        <a:srgbClr val="9C9D9D"/>
      </a:accent3>
      <a:accent4>
        <a:srgbClr val="FFFFFF"/>
      </a:accent4>
      <a:accent5>
        <a:srgbClr val="99CCFF"/>
      </a:accent5>
      <a:accent6>
        <a:srgbClr val="3366FF"/>
      </a:accent6>
      <a:hlink>
        <a:srgbClr val="CA0237"/>
      </a:hlink>
      <a:folHlink>
        <a:srgbClr val="3366FF"/>
      </a:folHlink>
    </a:clrScheme>
    <a:fontScheme name="Klöckn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loeckner_Master_2016_03_06.potx" id="{08032921-5371-42CA-83F9-A4102E78F0A0}" vid="{6469D5AE-17C4-44BC-915B-908044235008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6018E461C15544EB6BA9804F5384F99" ma:contentTypeVersion="5" ma:contentTypeDescription="Ein neues Dokument erstellen." ma:contentTypeScope="" ma:versionID="6967612ac84121a2221f7cf83e700b50">
  <xsd:schema xmlns:xsd="http://www.w3.org/2001/XMLSchema" xmlns:xs="http://www.w3.org/2001/XMLSchema" xmlns:p="http://schemas.microsoft.com/office/2006/metadata/properties" xmlns:ns2="942842e0-cbec-4b23-8797-4c1c87447f72" targetNamespace="http://schemas.microsoft.com/office/2006/metadata/properties" ma:root="true" ma:fieldsID="a91613ffb6803e397cff5d360d3c3459" ns2:_="">
    <xsd:import namespace="942842e0-cbec-4b23-8797-4c1c87447f7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2842e0-cbec-4b23-8797-4c1c87447f7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D1B0EB8-4B9F-466B-8943-6562DEDC075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49ADA21-9F9A-483D-A288-1A5407B4644F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942842e0-cbec-4b23-8797-4c1c87447f7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B00D7C8-2A77-4765-B5F4-F0F5C17B9B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2842e0-cbec-4b23-8797-4c1c87447f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</Words>
  <Application>Microsoft Office PowerPoint</Application>
  <PresentationFormat>Breitbild</PresentationFormat>
  <Paragraphs>2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Kl Bliss Office</vt:lpstr>
      <vt:lpstr>Kl Bliss Regular</vt:lpstr>
      <vt:lpstr>Wingdings</vt:lpstr>
      <vt:lpstr>1_Office Theme</vt:lpstr>
      <vt:lpstr>2_Office Theme</vt:lpstr>
      <vt:lpstr>3_Office Theme</vt:lpstr>
      <vt:lpstr>Office Theme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tina Reindl</dc:creator>
  <cp:lastModifiedBy>Tamara Fehirov</cp:lastModifiedBy>
  <cp:revision>35</cp:revision>
  <dcterms:created xsi:type="dcterms:W3CDTF">2022-04-05T07:48:21Z</dcterms:created>
  <dcterms:modified xsi:type="dcterms:W3CDTF">2023-07-26T11:1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6018E461C15544EB6BA9804F5384F99</vt:lpwstr>
  </property>
</Properties>
</file>